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0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5" r:id="rId5"/>
    <p:sldMasterId id="2147483706" r:id="rId6"/>
    <p:sldMasterId id="2147483822" r:id="rId7"/>
    <p:sldMasterId id="2147483841" r:id="rId8"/>
  </p:sldMasterIdLst>
  <p:notesMasterIdLst>
    <p:notesMasterId r:id="rId32"/>
  </p:notesMasterIdLst>
  <p:sldIdLst>
    <p:sldId id="4073" r:id="rId9"/>
    <p:sldId id="4043" r:id="rId10"/>
    <p:sldId id="4096" r:id="rId11"/>
    <p:sldId id="4098" r:id="rId12"/>
    <p:sldId id="4099" r:id="rId13"/>
    <p:sldId id="4074" r:id="rId14"/>
    <p:sldId id="4097" r:id="rId15"/>
    <p:sldId id="4095" r:id="rId16"/>
    <p:sldId id="4071" r:id="rId17"/>
    <p:sldId id="4081" r:id="rId18"/>
    <p:sldId id="4082" r:id="rId19"/>
    <p:sldId id="4083" r:id="rId20"/>
    <p:sldId id="4084" r:id="rId21"/>
    <p:sldId id="4085" r:id="rId22"/>
    <p:sldId id="4088" r:id="rId23"/>
    <p:sldId id="4090" r:id="rId24"/>
    <p:sldId id="4091" r:id="rId25"/>
    <p:sldId id="4092" r:id="rId26"/>
    <p:sldId id="4093" r:id="rId27"/>
    <p:sldId id="4094" r:id="rId28"/>
    <p:sldId id="4086" r:id="rId29"/>
    <p:sldId id="4087" r:id="rId30"/>
    <p:sldId id="4089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" id="{F7266A2B-C7E7-4B61-8B14-2311C84F770E}">
          <p14:sldIdLst>
            <p14:sldId id="4073"/>
            <p14:sldId id="4043"/>
            <p14:sldId id="4096"/>
            <p14:sldId id="4098"/>
            <p14:sldId id="4099"/>
          </p14:sldIdLst>
        </p14:section>
        <p14:section name="appendix" id="{5260D275-3E37-4EAB-9959-6F1DC6C066B3}">
          <p14:sldIdLst>
            <p14:sldId id="4074"/>
            <p14:sldId id="4097"/>
            <p14:sldId id="4095"/>
            <p14:sldId id="4071"/>
            <p14:sldId id="4081"/>
            <p14:sldId id="4082"/>
            <p14:sldId id="4083"/>
            <p14:sldId id="4084"/>
            <p14:sldId id="4085"/>
            <p14:sldId id="4088"/>
            <p14:sldId id="4090"/>
            <p14:sldId id="4091"/>
            <p14:sldId id="4092"/>
            <p14:sldId id="4093"/>
            <p14:sldId id="4094"/>
          </p14:sldIdLst>
        </p14:section>
        <p14:section name="Appendix" id="{DFF7B3FB-56E2-469D-A85B-971FCCBC66E2}">
          <p14:sldIdLst>
            <p14:sldId id="4086"/>
            <p14:sldId id="4087"/>
            <p14:sldId id="40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CE601"/>
    <a:srgbClr val="646464"/>
    <a:srgbClr val="2552E2"/>
    <a:srgbClr val="FFFF00"/>
    <a:srgbClr val="000000"/>
    <a:srgbClr val="D9D9D9"/>
    <a:srgbClr val="071F42"/>
    <a:srgbClr val="EEEEEE"/>
    <a:srgbClr val="061E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27" autoAdjust="0"/>
    <p:restoredTop sz="91381" autoAdjust="0"/>
  </p:normalViewPr>
  <p:slideViewPr>
    <p:cSldViewPr snapToGrid="0">
      <p:cViewPr>
        <p:scale>
          <a:sx n="75" d="100"/>
          <a:sy n="75" d="100"/>
        </p:scale>
        <p:origin x="1044" y="702"/>
      </p:cViewPr>
      <p:guideLst>
        <p:guide orient="horz" pos="2160"/>
        <p:guide pos="3840"/>
      </p:guideLst>
    </p:cSldViewPr>
  </p:slideViewPr>
  <p:notesTextViewPr>
    <p:cViewPr>
      <p:scale>
        <a:sx n="33" d="100"/>
        <a:sy n="33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zky Fajar" userId="490a5c0ae4650a6d" providerId="LiveId" clId="{5666174E-1FDC-4381-AE72-96AAAE51F635}"/>
    <pc:docChg chg="undo redo custSel addSld delSld modSld sldOrd addSection delSection modSection">
      <pc:chgData name="Rizky Fajar" userId="490a5c0ae4650a6d" providerId="LiveId" clId="{5666174E-1FDC-4381-AE72-96AAAE51F635}" dt="2025-03-05T11:11:09.912" v="32259" actId="20577"/>
      <pc:docMkLst>
        <pc:docMk/>
      </pc:docMkLst>
      <pc:sldChg chg="addSp modSp del mod">
        <pc:chgData name="Rizky Fajar" userId="490a5c0ae4650a6d" providerId="LiveId" clId="{5666174E-1FDC-4381-AE72-96AAAE51F635}" dt="2025-02-19T13:20:34.990" v="31954" actId="47"/>
        <pc:sldMkLst>
          <pc:docMk/>
          <pc:sldMk cId="2158894548" sldId="3856"/>
        </pc:sldMkLst>
      </pc:sldChg>
      <pc:sldChg chg="del ord">
        <pc:chgData name="Rizky Fajar" userId="490a5c0ae4650a6d" providerId="LiveId" clId="{5666174E-1FDC-4381-AE72-96AAAE51F635}" dt="2025-02-19T13:20:34.990" v="31954" actId="47"/>
        <pc:sldMkLst>
          <pc:docMk/>
          <pc:sldMk cId="2661136957" sldId="4034"/>
        </pc:sldMkLst>
      </pc:sldChg>
      <pc:sldChg chg="addSp modSp add del mod ord">
        <pc:chgData name="Rizky Fajar" userId="490a5c0ae4650a6d" providerId="LiveId" clId="{5666174E-1FDC-4381-AE72-96AAAE51F635}" dt="2025-03-05T11:11:09.912" v="32259" actId="20577"/>
        <pc:sldMkLst>
          <pc:docMk/>
          <pc:sldMk cId="478176969" sldId="4043"/>
        </pc:sldMkLst>
        <pc:spChg chg="mod">
          <ac:chgData name="Rizky Fajar" userId="490a5c0ae4650a6d" providerId="LiveId" clId="{5666174E-1FDC-4381-AE72-96AAAE51F635}" dt="2025-02-19T13:23:26.138" v="32198" actId="1076"/>
          <ac:spMkLst>
            <pc:docMk/>
            <pc:sldMk cId="478176969" sldId="4043"/>
            <ac:spMk id="9" creationId="{DA1F0FA7-59C7-FAF5-DAF8-85B441108C9C}"/>
          </ac:spMkLst>
        </pc:spChg>
        <pc:spChg chg="mod">
          <ac:chgData name="Rizky Fajar" userId="490a5c0ae4650a6d" providerId="LiveId" clId="{5666174E-1FDC-4381-AE72-96AAAE51F635}" dt="2025-02-19T13:24:35.107" v="32199"/>
          <ac:spMkLst>
            <pc:docMk/>
            <pc:sldMk cId="478176969" sldId="4043"/>
            <ac:spMk id="10" creationId="{DC38C997-9871-C4EA-E543-F0C355E9FE1B}"/>
          </ac:spMkLst>
        </pc:spChg>
        <pc:spChg chg="mod">
          <ac:chgData name="Rizky Fajar" userId="490a5c0ae4650a6d" providerId="LiveId" clId="{5666174E-1FDC-4381-AE72-96AAAE51F635}" dt="2025-02-19T13:23:26.138" v="32198" actId="1076"/>
          <ac:spMkLst>
            <pc:docMk/>
            <pc:sldMk cId="478176969" sldId="4043"/>
            <ac:spMk id="14" creationId="{A2DA0E0A-9C06-96D1-6BD3-FF5697999CCD}"/>
          </ac:spMkLst>
        </pc:spChg>
        <pc:spChg chg="mod">
          <ac:chgData name="Rizky Fajar" userId="490a5c0ae4650a6d" providerId="LiveId" clId="{5666174E-1FDC-4381-AE72-96AAAE51F635}" dt="2025-03-05T11:11:09.912" v="32259" actId="20577"/>
          <ac:spMkLst>
            <pc:docMk/>
            <pc:sldMk cId="478176969" sldId="4043"/>
            <ac:spMk id="17" creationId="{54ACE69C-B8F1-453C-63F1-D7ED8056383C}"/>
          </ac:spMkLst>
        </pc:spChg>
        <pc:spChg chg="mod">
          <ac:chgData name="Rizky Fajar" userId="490a5c0ae4650a6d" providerId="LiveId" clId="{5666174E-1FDC-4381-AE72-96AAAE51F635}" dt="2025-02-19T13:23:26.138" v="32198" actId="1076"/>
          <ac:spMkLst>
            <pc:docMk/>
            <pc:sldMk cId="478176969" sldId="4043"/>
            <ac:spMk id="18" creationId="{DDD3C425-AF4C-CA7F-112C-47CB2FD330C1}"/>
          </ac:spMkLst>
        </pc:spChg>
        <pc:spChg chg="mod">
          <ac:chgData name="Rizky Fajar" userId="490a5c0ae4650a6d" providerId="LiveId" clId="{5666174E-1FDC-4381-AE72-96AAAE51F635}" dt="2025-02-19T13:24:55.247" v="32201"/>
          <ac:spMkLst>
            <pc:docMk/>
            <pc:sldMk cId="478176969" sldId="4043"/>
            <ac:spMk id="19" creationId="{558A4831-9A21-5A61-7F55-0F7CDDA6B87A}"/>
          </ac:spMkLst>
        </pc:spChg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2137040807" sldId="4044"/>
        </pc:sldMkLst>
      </pc:sldChg>
      <pc:sldChg chg="addSp delSp modSp del mod ord">
        <pc:chgData name="Rizky Fajar" userId="490a5c0ae4650a6d" providerId="LiveId" clId="{5666174E-1FDC-4381-AE72-96AAAE51F635}" dt="2025-02-19T13:20:34.990" v="31954" actId="47"/>
        <pc:sldMkLst>
          <pc:docMk/>
          <pc:sldMk cId="2731431347" sldId="4045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379156853" sldId="4046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2197136769" sldId="4048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701110668" sldId="4049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086085138" sldId="4050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693959529" sldId="4051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072103729" sldId="4052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4285811609" sldId="4053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2910103047" sldId="4054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4078716642" sldId="4055"/>
        </pc:sldMkLst>
      </pc:sldChg>
      <pc:sldChg chg="delSp modSp add del mod">
        <pc:chgData name="Rizky Fajar" userId="490a5c0ae4650a6d" providerId="LiveId" clId="{5666174E-1FDC-4381-AE72-96AAAE51F635}" dt="2025-02-05T11:46:03.634" v="3299" actId="47"/>
        <pc:sldMkLst>
          <pc:docMk/>
          <pc:sldMk cId="1110314776" sldId="4056"/>
        </pc:sldMkLst>
      </pc:sldChg>
      <pc:sldChg chg="addSp delSp modSp add del mod">
        <pc:chgData name="Rizky Fajar" userId="490a5c0ae4650a6d" providerId="LiveId" clId="{5666174E-1FDC-4381-AE72-96AAAE51F635}" dt="2025-02-04T14:43:43.052" v="1744" actId="47"/>
        <pc:sldMkLst>
          <pc:docMk/>
          <pc:sldMk cId="2387310276" sldId="4056"/>
        </pc:sldMkLst>
      </pc:sldChg>
      <pc:sldChg chg="new del">
        <pc:chgData name="Rizky Fajar" userId="490a5c0ae4650a6d" providerId="LiveId" clId="{5666174E-1FDC-4381-AE72-96AAAE51F635}" dt="2025-02-05T10:54:27.164" v="1897" actId="680"/>
        <pc:sldMkLst>
          <pc:docMk/>
          <pc:sldMk cId="3272216733" sldId="4057"/>
        </pc:sldMkLst>
      </pc:sldChg>
      <pc:sldChg chg="addSp delSp modSp add del mod ord">
        <pc:chgData name="Rizky Fajar" userId="490a5c0ae4650a6d" providerId="LiveId" clId="{5666174E-1FDC-4381-AE72-96AAAE51F635}" dt="2025-02-12T17:31:04.654" v="14147" actId="47"/>
        <pc:sldMkLst>
          <pc:docMk/>
          <pc:sldMk cId="3582678259" sldId="4057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2943694238" sldId="4058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92306399" sldId="4059"/>
        </pc:sldMkLst>
      </pc:sldChg>
      <pc:sldChg chg="add del">
        <pc:chgData name="Rizky Fajar" userId="490a5c0ae4650a6d" providerId="LiveId" clId="{5666174E-1FDC-4381-AE72-96AAAE51F635}" dt="2025-02-06T13:16:13.239" v="3771"/>
        <pc:sldMkLst>
          <pc:docMk/>
          <pc:sldMk cId="1322601421" sldId="4059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469182241" sldId="4060"/>
        </pc:sldMkLst>
      </pc:sldChg>
      <pc:sldChg chg="modSp add del mod">
        <pc:chgData name="Rizky Fajar" userId="490a5c0ae4650a6d" providerId="LiveId" clId="{5666174E-1FDC-4381-AE72-96AAAE51F635}" dt="2025-02-12T17:31:04.654" v="14147" actId="47"/>
        <pc:sldMkLst>
          <pc:docMk/>
          <pc:sldMk cId="4028201297" sldId="4061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4262426532" sldId="4062"/>
        </pc:sldMkLst>
      </pc:sldChg>
      <pc:sldChg chg="modSp add del mod">
        <pc:chgData name="Rizky Fajar" userId="490a5c0ae4650a6d" providerId="LiveId" clId="{5666174E-1FDC-4381-AE72-96AAAE51F635}" dt="2025-02-12T17:31:04.654" v="14147" actId="47"/>
        <pc:sldMkLst>
          <pc:docMk/>
          <pc:sldMk cId="2862643936" sldId="4063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586656888" sldId="4064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722478252" sldId="4065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1742072149" sldId="4066"/>
        </pc:sldMkLst>
      </pc:sldChg>
      <pc:sldChg chg="addSp delSp modSp add del mod ord">
        <pc:chgData name="Rizky Fajar" userId="490a5c0ae4650a6d" providerId="LiveId" clId="{5666174E-1FDC-4381-AE72-96AAAE51F635}" dt="2025-02-19T13:20:34.990" v="31954" actId="47"/>
        <pc:sldMkLst>
          <pc:docMk/>
          <pc:sldMk cId="3422698670" sldId="4067"/>
        </pc:sldMkLst>
      </pc:sldChg>
      <pc:sldChg chg="modSp add del mod ord">
        <pc:chgData name="Rizky Fajar" userId="490a5c0ae4650a6d" providerId="LiveId" clId="{5666174E-1FDC-4381-AE72-96AAAE51F635}" dt="2025-02-19T13:20:34.990" v="31954" actId="47"/>
        <pc:sldMkLst>
          <pc:docMk/>
          <pc:sldMk cId="1127711032" sldId="4068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3935118954" sldId="4069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3591165028" sldId="4070"/>
        </pc:sldMkLst>
      </pc:sldChg>
      <pc:sldChg chg="addSp delSp modSp add mod">
        <pc:chgData name="Rizky Fajar" userId="490a5c0ae4650a6d" providerId="LiveId" clId="{5666174E-1FDC-4381-AE72-96AAAE51F635}" dt="2025-02-19T13:38:55.242" v="32256" actId="478"/>
        <pc:sldMkLst>
          <pc:docMk/>
          <pc:sldMk cId="355681110" sldId="4071"/>
        </pc:sldMkLst>
        <pc:spChg chg="mod">
          <ac:chgData name="Rizky Fajar" userId="490a5c0ae4650a6d" providerId="LiveId" clId="{5666174E-1FDC-4381-AE72-96AAAE51F635}" dt="2025-02-17T07:15:22.772" v="17825" actId="20577"/>
          <ac:spMkLst>
            <pc:docMk/>
            <pc:sldMk cId="355681110" sldId="4071"/>
            <ac:spMk id="5" creationId="{9B6D7EDC-AA5C-E46F-E093-97DDD7AE4E12}"/>
          </ac:spMkLst>
        </pc:spChg>
        <pc:spChg chg="add del mod ord topLvl">
          <ac:chgData name="Rizky Fajar" userId="490a5c0ae4650a6d" providerId="LiveId" clId="{5666174E-1FDC-4381-AE72-96AAAE51F635}" dt="2025-02-17T08:31:44.813" v="18227" actId="20577"/>
          <ac:spMkLst>
            <pc:docMk/>
            <pc:sldMk cId="355681110" sldId="4071"/>
            <ac:spMk id="7" creationId="{54EFF187-AD36-7C22-862A-B42547222549}"/>
          </ac:spMkLst>
        </pc:spChg>
        <pc:spChg chg="add del mod">
          <ac:chgData name="Rizky Fajar" userId="490a5c0ae4650a6d" providerId="LiveId" clId="{5666174E-1FDC-4381-AE72-96AAAE51F635}" dt="2025-02-18T03:57:55.808" v="21353" actId="20577"/>
          <ac:spMkLst>
            <pc:docMk/>
            <pc:sldMk cId="355681110" sldId="4071"/>
            <ac:spMk id="13" creationId="{DE8EBC0B-0EB1-7F72-D08C-89F4F614C182}"/>
          </ac:spMkLst>
        </pc:spChg>
        <pc:spChg chg="mod">
          <ac:chgData name="Rizky Fajar" userId="490a5c0ae4650a6d" providerId="LiveId" clId="{5666174E-1FDC-4381-AE72-96AAAE51F635}" dt="2025-02-17T06:58:10.822" v="17041" actId="20577"/>
          <ac:spMkLst>
            <pc:docMk/>
            <pc:sldMk cId="355681110" sldId="4071"/>
            <ac:spMk id="24" creationId="{C8584CAD-EE1A-36DD-95D3-1570233C0ACC}"/>
          </ac:spMkLst>
        </pc:spChg>
        <pc:spChg chg="add mod ord topLvl">
          <ac:chgData name="Rizky Fajar" userId="490a5c0ae4650a6d" providerId="LiveId" clId="{5666174E-1FDC-4381-AE72-96AAAE51F635}" dt="2025-02-17T08:31:42.293" v="18220" actId="20577"/>
          <ac:spMkLst>
            <pc:docMk/>
            <pc:sldMk cId="355681110" sldId="4071"/>
            <ac:spMk id="30" creationId="{89DDECC7-6B9C-1FF8-C0B0-5B6BCE4D6354}"/>
          </ac:spMkLst>
        </pc:spChg>
        <pc:spChg chg="add mod ord topLvl">
          <ac:chgData name="Rizky Fajar" userId="490a5c0ae4650a6d" providerId="LiveId" clId="{5666174E-1FDC-4381-AE72-96AAAE51F635}" dt="2025-02-17T08:31:41.998" v="18219" actId="20577"/>
          <ac:spMkLst>
            <pc:docMk/>
            <pc:sldMk cId="355681110" sldId="4071"/>
            <ac:spMk id="33" creationId="{BB486790-03E7-B8B8-3A9F-CECFB7C725D8}"/>
          </ac:spMkLst>
        </pc:spChg>
        <pc:spChg chg="add mod">
          <ac:chgData name="Rizky Fajar" userId="490a5c0ae4650a6d" providerId="LiveId" clId="{5666174E-1FDC-4381-AE72-96AAAE51F635}" dt="2025-02-17T07:06:36.841" v="17468" actId="14100"/>
          <ac:spMkLst>
            <pc:docMk/>
            <pc:sldMk cId="355681110" sldId="4071"/>
            <ac:spMk id="48" creationId="{CB1F033A-3A8E-E0FD-7B2E-C189C97EA4B1}"/>
          </ac:spMkLst>
        </pc:spChg>
        <pc:spChg chg="add mod">
          <ac:chgData name="Rizky Fajar" userId="490a5c0ae4650a6d" providerId="LiveId" clId="{5666174E-1FDC-4381-AE72-96AAAE51F635}" dt="2025-02-17T07:15:53.773" v="17837" actId="20577"/>
          <ac:spMkLst>
            <pc:docMk/>
            <pc:sldMk cId="355681110" sldId="4071"/>
            <ac:spMk id="49" creationId="{3CEEBB9D-F9DA-76E0-B607-B90F3A0017CE}"/>
          </ac:spMkLst>
        </pc:spChg>
        <pc:spChg chg="mod">
          <ac:chgData name="Rizky Fajar" userId="490a5c0ae4650a6d" providerId="LiveId" clId="{5666174E-1FDC-4381-AE72-96AAAE51F635}" dt="2025-02-17T06:25:52.781" v="16451" actId="1076"/>
          <ac:spMkLst>
            <pc:docMk/>
            <pc:sldMk cId="355681110" sldId="4071"/>
            <ac:spMk id="55" creationId="{1F7DF25A-FFBE-70DD-FF05-E9B13B6A4C0D}"/>
          </ac:spMkLst>
        </pc:spChg>
        <pc:spChg chg="add mod">
          <ac:chgData name="Rizky Fajar" userId="490a5c0ae4650a6d" providerId="LiveId" clId="{5666174E-1FDC-4381-AE72-96AAAE51F635}" dt="2025-02-17T07:08:46.193" v="17685" actId="1076"/>
          <ac:spMkLst>
            <pc:docMk/>
            <pc:sldMk cId="355681110" sldId="4071"/>
            <ac:spMk id="82" creationId="{BE8CCF1C-2898-F8B9-5C1D-D4FFB40ECAD5}"/>
          </ac:spMkLst>
        </pc:spChg>
        <pc:spChg chg="add mod">
          <ac:chgData name="Rizky Fajar" userId="490a5c0ae4650a6d" providerId="LiveId" clId="{5666174E-1FDC-4381-AE72-96AAAE51F635}" dt="2025-02-17T07:09:06.907" v="17688" actId="404"/>
          <ac:spMkLst>
            <pc:docMk/>
            <pc:sldMk cId="355681110" sldId="4071"/>
            <ac:spMk id="108" creationId="{5233948A-9214-A255-618C-7D3E7A76943B}"/>
          </ac:spMkLst>
        </pc:spChg>
        <pc:spChg chg="add mod">
          <ac:chgData name="Rizky Fajar" userId="490a5c0ae4650a6d" providerId="LiveId" clId="{5666174E-1FDC-4381-AE72-96AAAE51F635}" dt="2025-02-17T07:09:08.867" v="17689" actId="404"/>
          <ac:spMkLst>
            <pc:docMk/>
            <pc:sldMk cId="355681110" sldId="4071"/>
            <ac:spMk id="109" creationId="{137AA461-F2F2-2430-E579-7856D67A36EE}"/>
          </ac:spMkLst>
        </pc:spChg>
        <pc:spChg chg="add mod ord">
          <ac:chgData name="Rizky Fajar" userId="490a5c0ae4650a6d" providerId="LiveId" clId="{5666174E-1FDC-4381-AE72-96AAAE51F635}" dt="2025-02-17T07:08:59.884" v="17687" actId="14100"/>
          <ac:spMkLst>
            <pc:docMk/>
            <pc:sldMk cId="355681110" sldId="4071"/>
            <ac:spMk id="110" creationId="{233CE5FD-CFE8-91E0-FB49-B5E2B8C14534}"/>
          </ac:spMkLst>
        </pc:spChg>
        <pc:spChg chg="add mod">
          <ac:chgData name="Rizky Fajar" userId="490a5c0ae4650a6d" providerId="LiveId" clId="{5666174E-1FDC-4381-AE72-96AAAE51F635}" dt="2025-02-17T07:10:31.861" v="17709" actId="1076"/>
          <ac:spMkLst>
            <pc:docMk/>
            <pc:sldMk cId="355681110" sldId="4071"/>
            <ac:spMk id="113" creationId="{229CDFD3-6F35-6919-7A1D-F5006E09EC69}"/>
          </ac:spMkLst>
        </pc:spChg>
        <pc:spChg chg="add mod ord">
          <ac:chgData name="Rizky Fajar" userId="490a5c0ae4650a6d" providerId="LiveId" clId="{5666174E-1FDC-4381-AE72-96AAAE51F635}" dt="2025-02-17T07:20:19.522" v="17848" actId="166"/>
          <ac:spMkLst>
            <pc:docMk/>
            <pc:sldMk cId="355681110" sldId="4071"/>
            <ac:spMk id="125" creationId="{7A7EE6DB-48AD-63E6-86BF-C5B7FF414755}"/>
          </ac:spMkLst>
        </pc:spChg>
        <pc:spChg chg="add mod">
          <ac:chgData name="Rizky Fajar" userId="490a5c0ae4650a6d" providerId="LiveId" clId="{5666174E-1FDC-4381-AE72-96AAAE51F635}" dt="2025-02-17T07:14:52.765" v="17801" actId="1076"/>
          <ac:spMkLst>
            <pc:docMk/>
            <pc:sldMk cId="355681110" sldId="4071"/>
            <ac:spMk id="126" creationId="{3C5CEE49-E606-EF4A-5DD4-C9BA0D791E5D}"/>
          </ac:spMkLst>
        </pc:spChg>
        <pc:spChg chg="add mod">
          <ac:chgData name="Rizky Fajar" userId="490a5c0ae4650a6d" providerId="LiveId" clId="{5666174E-1FDC-4381-AE72-96AAAE51F635}" dt="2025-02-17T08:18:12.843" v="17883" actId="113"/>
          <ac:spMkLst>
            <pc:docMk/>
            <pc:sldMk cId="355681110" sldId="4071"/>
            <ac:spMk id="128" creationId="{AB39570E-E1FF-24FE-8B38-20945E037BB5}"/>
          </ac:spMkLst>
        </pc:spChg>
        <pc:grpChg chg="add mod">
          <ac:chgData name="Rizky Fajar" userId="490a5c0ae4650a6d" providerId="LiveId" clId="{5666174E-1FDC-4381-AE72-96AAAE51F635}" dt="2025-02-17T06:55:41.682" v="16984" actId="1076"/>
          <ac:grpSpMkLst>
            <pc:docMk/>
            <pc:sldMk cId="355681110" sldId="4071"/>
            <ac:grpSpMk id="99" creationId="{D8008FF8-A2E6-712A-3B9A-D87D01284CD0}"/>
          </ac:grpSpMkLst>
        </pc:grpChg>
        <pc:graphicFrameChg chg="add del mod">
          <ac:chgData name="Rizky Fajar" userId="490a5c0ae4650a6d" providerId="LiveId" clId="{5666174E-1FDC-4381-AE72-96AAAE51F635}" dt="2025-02-17T07:26:21.063" v="17851" actId="404"/>
          <ac:graphicFrameMkLst>
            <pc:docMk/>
            <pc:sldMk cId="355681110" sldId="4071"/>
            <ac:graphicFrameMk id="56" creationId="{59453198-3013-50A0-FD99-2F3C747D4431}"/>
          </ac:graphicFrameMkLst>
        </pc:graphicFrameChg>
        <pc:graphicFrameChg chg="add mod">
          <ac:chgData name="Rizky Fajar" userId="490a5c0ae4650a6d" providerId="LiveId" clId="{5666174E-1FDC-4381-AE72-96AAAE51F635}" dt="2025-02-17T07:20:25.082" v="17849" actId="166"/>
          <ac:graphicFrameMkLst>
            <pc:docMk/>
            <pc:sldMk cId="355681110" sldId="4071"/>
            <ac:graphicFrameMk id="97" creationId="{5BBF045A-9777-A7AE-0D9D-5C33EDCDC7E6}"/>
          </ac:graphicFrameMkLst>
        </pc:graphicFrameChg>
        <pc:picChg chg="add mod">
          <ac:chgData name="Rizky Fajar" userId="490a5c0ae4650a6d" providerId="LiveId" clId="{5666174E-1FDC-4381-AE72-96AAAE51F635}" dt="2025-02-17T08:18:01.458" v="17878" actId="1076"/>
          <ac:picMkLst>
            <pc:docMk/>
            <pc:sldMk cId="355681110" sldId="4071"/>
            <ac:picMk id="84" creationId="{039E66D5-7771-0F95-F605-ECCA1CB657BA}"/>
          </ac:picMkLst>
        </pc:picChg>
        <pc:picChg chg="add mod">
          <ac:chgData name="Rizky Fajar" userId="490a5c0ae4650a6d" providerId="LiveId" clId="{5666174E-1FDC-4381-AE72-96AAAE51F635}" dt="2025-02-17T08:18:02.353" v="17879" actId="1076"/>
          <ac:picMkLst>
            <pc:docMk/>
            <pc:sldMk cId="355681110" sldId="4071"/>
            <ac:picMk id="90" creationId="{3A0B7EEA-C04C-6C61-ECAA-1BC67A79F948}"/>
          </ac:picMkLst>
        </pc:picChg>
        <pc:picChg chg="add mod">
          <ac:chgData name="Rizky Fajar" userId="490a5c0ae4650a6d" providerId="LiveId" clId="{5666174E-1FDC-4381-AE72-96AAAE51F635}" dt="2025-02-17T08:18:00.078" v="17877" actId="1076"/>
          <ac:picMkLst>
            <pc:docMk/>
            <pc:sldMk cId="355681110" sldId="4071"/>
            <ac:picMk id="92" creationId="{397E3384-F2EE-6C68-8869-115AEE9F212F}"/>
          </ac:picMkLst>
        </pc:picChg>
        <pc:picChg chg="add mod">
          <ac:chgData name="Rizky Fajar" userId="490a5c0ae4650a6d" providerId="LiveId" clId="{5666174E-1FDC-4381-AE72-96AAAE51F635}" dt="2025-02-17T08:18:04.073" v="17881" actId="1076"/>
          <ac:picMkLst>
            <pc:docMk/>
            <pc:sldMk cId="355681110" sldId="4071"/>
            <ac:picMk id="94" creationId="{F879EBFB-9B9C-6EB3-0645-50F506E60BB9}"/>
          </ac:picMkLst>
        </pc:picChg>
        <pc:picChg chg="add mod">
          <ac:chgData name="Rizky Fajar" userId="490a5c0ae4650a6d" providerId="LiveId" clId="{5666174E-1FDC-4381-AE72-96AAAE51F635}" dt="2025-02-17T08:18:03.256" v="17880" actId="1076"/>
          <ac:picMkLst>
            <pc:docMk/>
            <pc:sldMk cId="355681110" sldId="4071"/>
            <ac:picMk id="96" creationId="{1A211020-E6CE-B4CC-6190-AB2EB35BC7D3}"/>
          </ac:picMkLst>
        </pc:picChg>
        <pc:picChg chg="add mod">
          <ac:chgData name="Rizky Fajar" userId="490a5c0ae4650a6d" providerId="LiveId" clId="{5666174E-1FDC-4381-AE72-96AAAE51F635}" dt="2025-02-17T07:10:31.861" v="17709" actId="1076"/>
          <ac:picMkLst>
            <pc:docMk/>
            <pc:sldMk cId="355681110" sldId="4071"/>
            <ac:picMk id="122" creationId="{68E0A094-462F-0B1C-1C8B-92E67EA541EE}"/>
          </ac:picMkLst>
        </pc:picChg>
        <pc:cxnChg chg="add mod">
          <ac:chgData name="Rizky Fajar" userId="490a5c0ae4650a6d" providerId="LiveId" clId="{5666174E-1FDC-4381-AE72-96AAAE51F635}" dt="2025-02-17T06:08:56.842" v="15160" actId="14100"/>
          <ac:cxnSpMkLst>
            <pc:docMk/>
            <pc:sldMk cId="355681110" sldId="4071"/>
            <ac:cxnSpMk id="16" creationId="{F1EAE090-1E5C-B2CB-380E-7DE84253CADF}"/>
          </ac:cxnSpMkLst>
        </pc:cxnChg>
        <pc:cxnChg chg="add mod topLvl">
          <ac:chgData name="Rizky Fajar" userId="490a5c0ae4650a6d" providerId="LiveId" clId="{5666174E-1FDC-4381-AE72-96AAAE51F635}" dt="2025-02-17T06:55:35.312" v="16983" actId="1076"/>
          <ac:cxnSpMkLst>
            <pc:docMk/>
            <pc:sldMk cId="355681110" sldId="4071"/>
            <ac:cxnSpMk id="25" creationId="{D37E9459-5F09-EB92-3172-BD9BB3272F15}"/>
          </ac:cxnSpMkLst>
        </pc:cxnChg>
        <pc:cxnChg chg="add mod topLvl">
          <ac:chgData name="Rizky Fajar" userId="490a5c0ae4650a6d" providerId="LiveId" clId="{5666174E-1FDC-4381-AE72-96AAAE51F635}" dt="2025-02-17T06:52:01.272" v="16786" actId="164"/>
          <ac:cxnSpMkLst>
            <pc:docMk/>
            <pc:sldMk cId="355681110" sldId="4071"/>
            <ac:cxnSpMk id="31" creationId="{CE057564-4AC8-39A7-7F90-2076C0B17D82}"/>
          </ac:cxnSpMkLst>
        </pc:cxnChg>
        <pc:cxnChg chg="mod topLvl">
          <ac:chgData name="Rizky Fajar" userId="490a5c0ae4650a6d" providerId="LiveId" clId="{5666174E-1FDC-4381-AE72-96AAAE51F635}" dt="2025-02-17T06:19:32.522" v="16009" actId="14100"/>
          <ac:cxnSpMkLst>
            <pc:docMk/>
            <pc:sldMk cId="355681110" sldId="4071"/>
            <ac:cxnSpMk id="44" creationId="{18A9ECD9-8FF2-BF87-892B-B13805411BA0}"/>
          </ac:cxnSpMkLst>
        </pc:cxnChg>
        <pc:cxnChg chg="add mod">
          <ac:chgData name="Rizky Fajar" userId="490a5c0ae4650a6d" providerId="LiveId" clId="{5666174E-1FDC-4381-AE72-96AAAE51F635}" dt="2025-02-17T07:08:46.193" v="17685" actId="1076"/>
          <ac:cxnSpMkLst>
            <pc:docMk/>
            <pc:sldMk cId="355681110" sldId="4071"/>
            <ac:cxnSpMk id="80" creationId="{C49BF47A-BAF7-9786-04D9-C47AB75F2EA4}"/>
          </ac:cxnSpMkLst>
        </pc:cxnChg>
        <pc:cxnChg chg="add mod">
          <ac:chgData name="Rizky Fajar" userId="490a5c0ae4650a6d" providerId="LiveId" clId="{5666174E-1FDC-4381-AE72-96AAAE51F635}" dt="2025-02-17T07:12:40.044" v="17776" actId="1038"/>
          <ac:cxnSpMkLst>
            <pc:docMk/>
            <pc:sldMk cId="355681110" sldId="4071"/>
            <ac:cxnSpMk id="115" creationId="{C1B18FD9-A8A0-ABAC-3531-906953014777}"/>
          </ac:cxnSpMkLst>
        </pc:cxnChg>
        <pc:cxnChg chg="add mod">
          <ac:chgData name="Rizky Fajar" userId="490a5c0ae4650a6d" providerId="LiveId" clId="{5666174E-1FDC-4381-AE72-96AAAE51F635}" dt="2025-02-17T07:11:34.452" v="17715" actId="1076"/>
          <ac:cxnSpMkLst>
            <pc:docMk/>
            <pc:sldMk cId="355681110" sldId="4071"/>
            <ac:cxnSpMk id="117" creationId="{EDFCE953-1376-904B-4B9F-C4952DF0CA72}"/>
          </ac:cxnSpMkLst>
        </pc:cxnChg>
        <pc:cxnChg chg="add mod">
          <ac:chgData name="Rizky Fajar" userId="490a5c0ae4650a6d" providerId="LiveId" clId="{5666174E-1FDC-4381-AE72-96AAAE51F635}" dt="2025-02-17T07:20:12.192" v="17847" actId="14100"/>
          <ac:cxnSpMkLst>
            <pc:docMk/>
            <pc:sldMk cId="355681110" sldId="4071"/>
            <ac:cxnSpMk id="119" creationId="{419A49BD-26AE-30CC-3DD8-12D4641B9FD6}"/>
          </ac:cxnSpMkLst>
        </pc:cxnChg>
      </pc:sldChg>
      <pc:sldChg chg="addSp delSp modSp add del mod">
        <pc:chgData name="Rizky Fajar" userId="490a5c0ae4650a6d" providerId="LiveId" clId="{5666174E-1FDC-4381-AE72-96AAAE51F635}" dt="2025-02-17T08:30:26.753" v="18024" actId="47"/>
        <pc:sldMkLst>
          <pc:docMk/>
          <pc:sldMk cId="562478276" sldId="4072"/>
        </pc:sldMkLst>
      </pc:sldChg>
      <pc:sldChg chg="addSp modSp add mod">
        <pc:chgData name="Rizky Fajar" userId="490a5c0ae4650a6d" providerId="LiveId" clId="{5666174E-1FDC-4381-AE72-96AAAE51F635}" dt="2025-02-17T08:29:52.311" v="18022" actId="1035"/>
        <pc:sldMkLst>
          <pc:docMk/>
          <pc:sldMk cId="2166661068" sldId="4073"/>
        </pc:sldMkLst>
        <pc:spChg chg="mod">
          <ac:chgData name="Rizky Fajar" userId="490a5c0ae4650a6d" providerId="LiveId" clId="{5666174E-1FDC-4381-AE72-96AAAE51F635}" dt="2025-02-17T08:28:57.833" v="18010" actId="1076"/>
          <ac:spMkLst>
            <pc:docMk/>
            <pc:sldMk cId="2166661068" sldId="4073"/>
            <ac:spMk id="5" creationId="{0D81CA75-2690-EB8E-B2B3-633F9A963DD7}"/>
          </ac:spMkLst>
        </pc:spChg>
        <pc:spChg chg="mod">
          <ac:chgData name="Rizky Fajar" userId="490a5c0ae4650a6d" providerId="LiveId" clId="{5666174E-1FDC-4381-AE72-96AAAE51F635}" dt="2025-02-17T08:28:57.833" v="18010" actId="1076"/>
          <ac:spMkLst>
            <pc:docMk/>
            <pc:sldMk cId="2166661068" sldId="4073"/>
            <ac:spMk id="10" creationId="{CE3085B4-D678-E122-C415-ED697AC5FC39}"/>
          </ac:spMkLst>
        </pc:spChg>
        <pc:picChg chg="mod">
          <ac:chgData name="Rizky Fajar" userId="490a5c0ae4650a6d" providerId="LiveId" clId="{5666174E-1FDC-4381-AE72-96AAAE51F635}" dt="2025-02-17T08:28:11.185" v="18003" actId="1076"/>
          <ac:picMkLst>
            <pc:docMk/>
            <pc:sldMk cId="2166661068" sldId="4073"/>
            <ac:picMk id="12" creationId="{04E2F557-937F-51FB-53F2-7623D4421C29}"/>
          </ac:picMkLst>
        </pc:picChg>
      </pc:sldChg>
      <pc:sldChg chg="addSp delSp modSp add mod setBg">
        <pc:chgData name="Rizky Fajar" userId="490a5c0ae4650a6d" providerId="LiveId" clId="{5666174E-1FDC-4381-AE72-96AAAE51F635}" dt="2025-02-18T11:38:28.283" v="28547" actId="20577"/>
        <pc:sldMkLst>
          <pc:docMk/>
          <pc:sldMk cId="3906089006" sldId="4074"/>
        </pc:sldMkLst>
        <pc:spChg chg="mod">
          <ac:chgData name="Rizky Fajar" userId="490a5c0ae4650a6d" providerId="LiveId" clId="{5666174E-1FDC-4381-AE72-96AAAE51F635}" dt="2025-02-18T11:34:43.445" v="28348" actId="20577"/>
          <ac:spMkLst>
            <pc:docMk/>
            <pc:sldMk cId="3906089006" sldId="4074"/>
            <ac:spMk id="7" creationId="{E980650F-C064-FE8D-640F-8A1ABF5CE64D}"/>
          </ac:spMkLst>
        </pc:spChg>
        <pc:spChg chg="mod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13" creationId="{9010127A-0F30-1542-DF37-A06C740AD76F}"/>
          </ac:spMkLst>
        </pc:spChg>
        <pc:spChg chg="mod">
          <ac:chgData name="Rizky Fajar" userId="490a5c0ae4650a6d" providerId="LiveId" clId="{5666174E-1FDC-4381-AE72-96AAAE51F635}" dt="2025-02-18T11:34:20.414" v="28333" actId="20577"/>
          <ac:spMkLst>
            <pc:docMk/>
            <pc:sldMk cId="3906089006" sldId="4074"/>
            <ac:spMk id="24" creationId="{33B620E1-E639-06AB-A8D6-9E7D11E66101}"/>
          </ac:spMkLst>
        </pc:spChg>
        <pc:spChg chg="add mod topLvl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39" creationId="{A48FEFC8-F9A5-E7D4-E986-C0820BBBF69F}"/>
          </ac:spMkLst>
        </pc:spChg>
        <pc:spChg chg="add mod topLvl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40" creationId="{125EB049-3987-AECA-3103-47D552E85014}"/>
          </ac:spMkLst>
        </pc:spChg>
      </pc:sldChg>
      <pc:sldChg chg="modSp add mod">
        <pc:chgData name="Rizky Fajar" userId="490a5c0ae4650a6d" providerId="LiveId" clId="{5666174E-1FDC-4381-AE72-96AAAE51F635}" dt="2025-02-18T10:01:52.741" v="25310" actId="20577"/>
        <pc:sldMkLst>
          <pc:docMk/>
          <pc:sldMk cId="1920018756" sldId="4075"/>
        </pc:sldMkLst>
      </pc:sldChg>
      <pc:sldChg chg="add">
        <pc:chgData name="Rizky Fajar" userId="490a5c0ae4650a6d" providerId="LiveId" clId="{5666174E-1FDC-4381-AE72-96AAAE51F635}" dt="2025-02-17T09:21:55.016" v="20583"/>
        <pc:sldMkLst>
          <pc:docMk/>
          <pc:sldMk cId="2413160194" sldId="4076"/>
        </pc:sldMkLst>
      </pc:sldChg>
      <pc:sldChg chg="modSp add mod">
        <pc:chgData name="Rizky Fajar" userId="490a5c0ae4650a6d" providerId="LiveId" clId="{5666174E-1FDC-4381-AE72-96AAAE51F635}" dt="2025-02-17T13:21:34.001" v="20966" actId="1076"/>
        <pc:sldMkLst>
          <pc:docMk/>
          <pc:sldMk cId="2250815749" sldId="4077"/>
        </pc:sldMkLst>
      </pc:sldChg>
      <pc:sldChg chg="addSp delSp modSp add mod">
        <pc:chgData name="Rizky Fajar" userId="490a5c0ae4650a6d" providerId="LiveId" clId="{5666174E-1FDC-4381-AE72-96AAAE51F635}" dt="2025-02-18T11:13:12.384" v="27687" actId="20577"/>
        <pc:sldMkLst>
          <pc:docMk/>
          <pc:sldMk cId="813512623" sldId="4078"/>
        </pc:sldMkLst>
      </pc:sldChg>
      <pc:sldChg chg="delSp modSp add del mod ord">
        <pc:chgData name="Rizky Fajar" userId="490a5c0ae4650a6d" providerId="LiveId" clId="{5666174E-1FDC-4381-AE72-96AAAE51F635}" dt="2025-02-18T13:02:29.585" v="28675" actId="47"/>
        <pc:sldMkLst>
          <pc:docMk/>
          <pc:sldMk cId="1092103503" sldId="4079"/>
        </pc:sldMkLst>
      </pc:sldChg>
      <pc:sldChg chg="modSp add mod">
        <pc:chgData name="Rizky Fajar" userId="490a5c0ae4650a6d" providerId="LiveId" clId="{5666174E-1FDC-4381-AE72-96AAAE51F635}" dt="2025-02-18T11:13:22.869" v="27732" actId="20577"/>
        <pc:sldMkLst>
          <pc:docMk/>
          <pc:sldMk cId="508777644" sldId="4080"/>
        </pc:sldMkLst>
      </pc:sldChg>
      <pc:sldChg chg="del">
        <pc:chgData name="Rizky Fajar" userId="490a5c0ae4650a6d" providerId="LiveId" clId="{5666174E-1FDC-4381-AE72-96AAAE51F635}" dt="2025-02-19T13:20:11.968" v="31953" actId="2696"/>
        <pc:sldMkLst>
          <pc:docMk/>
          <pc:sldMk cId="2169134771" sldId="4080"/>
        </pc:sldMkLst>
      </pc:sldChg>
      <pc:sldChg chg="addSp delSp modSp add mod setBg">
        <pc:chgData name="Rizky Fajar" userId="490a5c0ae4650a6d" providerId="LiveId" clId="{5666174E-1FDC-4381-AE72-96AAAE51F635}" dt="2025-02-18T11:42:03.158" v="28585" actId="404"/>
        <pc:sldMkLst>
          <pc:docMk/>
          <pc:sldMk cId="704571891" sldId="4081"/>
        </pc:sldMkLst>
        <pc:spChg chg="add mod">
          <ac:chgData name="Rizky Fajar" userId="490a5c0ae4650a6d" providerId="LiveId" clId="{5666174E-1FDC-4381-AE72-96AAAE51F635}" dt="2025-02-18T11:39:47.251" v="28577" actId="20577"/>
          <ac:spMkLst>
            <pc:docMk/>
            <pc:sldMk cId="704571891" sldId="4081"/>
            <ac:spMk id="103" creationId="{B78E0B0B-6FAF-4B34-062E-F79C0B407897}"/>
          </ac:spMkLst>
        </pc:spChg>
        <pc:spChg chg="add mod">
          <ac:chgData name="Rizky Fajar" userId="490a5c0ae4650a6d" providerId="LiveId" clId="{5666174E-1FDC-4381-AE72-96AAAE51F635}" dt="2025-02-18T07:37:54.960" v="25241" actId="20577"/>
          <ac:spMkLst>
            <pc:docMk/>
            <pc:sldMk cId="704571891" sldId="4081"/>
            <ac:spMk id="105" creationId="{1F1C8F87-8BDF-410D-F96F-9B28537C620B}"/>
          </ac:spMkLst>
        </pc:spChg>
        <pc:spChg chg="add mod">
          <ac:chgData name="Rizky Fajar" userId="490a5c0ae4650a6d" providerId="LiveId" clId="{5666174E-1FDC-4381-AE72-96AAAE51F635}" dt="2025-02-18T07:38:01.053" v="25268" actId="20577"/>
          <ac:spMkLst>
            <pc:docMk/>
            <pc:sldMk cId="704571891" sldId="4081"/>
            <ac:spMk id="107" creationId="{892589C2-98DB-29FC-B12B-E4568F30579C}"/>
          </ac:spMkLst>
        </pc:spChg>
        <pc:spChg chg="add mod">
          <ac:chgData name="Rizky Fajar" userId="490a5c0ae4650a6d" providerId="LiveId" clId="{5666174E-1FDC-4381-AE72-96AAAE51F635}" dt="2025-02-18T07:22:59.273" v="24702" actId="1076"/>
          <ac:spMkLst>
            <pc:docMk/>
            <pc:sldMk cId="704571891" sldId="4081"/>
            <ac:spMk id="112" creationId="{36ED96FE-F47A-A358-5D6B-13BECC791E15}"/>
          </ac:spMkLst>
        </pc:spChg>
        <pc:spChg chg="add mod">
          <ac:chgData name="Rizky Fajar" userId="490a5c0ae4650a6d" providerId="LiveId" clId="{5666174E-1FDC-4381-AE72-96AAAE51F635}" dt="2025-02-18T11:42:03.158" v="28585" actId="404"/>
          <ac:spMkLst>
            <pc:docMk/>
            <pc:sldMk cId="704571891" sldId="4081"/>
            <ac:spMk id="118" creationId="{DBDD57B4-9626-EFBE-FA25-77388ED6F757}"/>
          </ac:spMkLst>
        </pc:spChg>
        <pc:spChg chg="add mod">
          <ac:chgData name="Rizky Fajar" userId="490a5c0ae4650a6d" providerId="LiveId" clId="{5666174E-1FDC-4381-AE72-96AAAE51F635}" dt="2025-02-18T11:42:02.767" v="28584" actId="404"/>
          <ac:spMkLst>
            <pc:docMk/>
            <pc:sldMk cId="704571891" sldId="4081"/>
            <ac:spMk id="120" creationId="{2E597272-53F5-24F4-EF70-62C7186D9CCE}"/>
          </ac:spMkLst>
        </pc:spChg>
        <pc:spChg chg="add mod">
          <ac:chgData name="Rizky Fajar" userId="490a5c0ae4650a6d" providerId="LiveId" clId="{5666174E-1FDC-4381-AE72-96AAAE51F635}" dt="2025-02-18T11:42:02.424" v="28583" actId="404"/>
          <ac:spMkLst>
            <pc:docMk/>
            <pc:sldMk cId="704571891" sldId="4081"/>
            <ac:spMk id="121" creationId="{465CF6C2-D280-9EE7-F312-9B409D738DAB}"/>
          </ac:spMkLst>
        </pc:spChg>
        <pc:spChg chg="add mod">
          <ac:chgData name="Rizky Fajar" userId="490a5c0ae4650a6d" providerId="LiveId" clId="{5666174E-1FDC-4381-AE72-96AAAE51F635}" dt="2025-02-18T07:28:43.053" v="24743" actId="14100"/>
          <ac:spMkLst>
            <pc:docMk/>
            <pc:sldMk cId="704571891" sldId="4081"/>
            <ac:spMk id="123" creationId="{37F981BE-3283-9DA6-FF8C-81E4F4014E15}"/>
          </ac:spMkLst>
        </pc:spChg>
        <pc:spChg chg="add mod">
          <ac:chgData name="Rizky Fajar" userId="490a5c0ae4650a6d" providerId="LiveId" clId="{5666174E-1FDC-4381-AE72-96AAAE51F635}" dt="2025-02-18T07:23:26.147" v="24712" actId="1035"/>
          <ac:spMkLst>
            <pc:docMk/>
            <pc:sldMk cId="704571891" sldId="4081"/>
            <ac:spMk id="137" creationId="{D66049F6-8C24-3B7E-2D9C-EC550487301D}"/>
          </ac:spMkLst>
        </pc:spChg>
        <pc:spChg chg="add mod">
          <ac:chgData name="Rizky Fajar" userId="490a5c0ae4650a6d" providerId="LiveId" clId="{5666174E-1FDC-4381-AE72-96AAAE51F635}" dt="2025-02-18T07:30:11.538" v="24758" actId="1076"/>
          <ac:spMkLst>
            <pc:docMk/>
            <pc:sldMk cId="704571891" sldId="4081"/>
            <ac:spMk id="140" creationId="{5B7CBF77-D965-95EA-1E56-A5E654E34250}"/>
          </ac:spMkLst>
        </pc:spChg>
        <pc:picChg chg="add mod">
          <ac:chgData name="Rizky Fajar" userId="490a5c0ae4650a6d" providerId="LiveId" clId="{5666174E-1FDC-4381-AE72-96AAAE51F635}" dt="2025-02-18T07:28:47.600" v="24750" actId="1036"/>
          <ac:picMkLst>
            <pc:docMk/>
            <pc:sldMk cId="704571891" sldId="4081"/>
            <ac:picMk id="152" creationId="{25E7CE34-169C-F69E-F30C-029B1C06C1D2}"/>
          </ac:picMkLst>
        </pc:picChg>
        <pc:picChg chg="add mod">
          <ac:chgData name="Rizky Fajar" userId="490a5c0ae4650a6d" providerId="LiveId" clId="{5666174E-1FDC-4381-AE72-96AAAE51F635}" dt="2025-02-18T07:28:39.819" v="24741" actId="1038"/>
          <ac:picMkLst>
            <pc:docMk/>
            <pc:sldMk cId="704571891" sldId="4081"/>
            <ac:picMk id="154" creationId="{C61B47DF-DF7A-B98B-89F5-24B2770E1A41}"/>
          </ac:picMkLst>
        </pc:picChg>
        <pc:picChg chg="add mod">
          <ac:chgData name="Rizky Fajar" userId="490a5c0ae4650a6d" providerId="LiveId" clId="{5666174E-1FDC-4381-AE72-96AAAE51F635}" dt="2025-02-18T07:30:18.694" v="24760" actId="1076"/>
          <ac:picMkLst>
            <pc:docMk/>
            <pc:sldMk cId="704571891" sldId="4081"/>
            <ac:picMk id="156" creationId="{BA1BF6BA-29C4-D2D5-6A96-81A32A8CD794}"/>
          </ac:picMkLst>
        </pc:picChg>
        <pc:cxnChg chg="add mod">
          <ac:chgData name="Rizky Fajar" userId="490a5c0ae4650a6d" providerId="LiveId" clId="{5666174E-1FDC-4381-AE72-96AAAE51F635}" dt="2025-02-18T07:18:54.586" v="24642" actId="1076"/>
          <ac:cxnSpMkLst>
            <pc:docMk/>
            <pc:sldMk cId="704571891" sldId="4081"/>
            <ac:cxnSpMk id="104" creationId="{DA9A5EA3-A1CC-51D9-961F-C43E638C01A5}"/>
          </ac:cxnSpMkLst>
        </pc:cxnChg>
        <pc:cxnChg chg="add mod">
          <ac:chgData name="Rizky Fajar" userId="490a5c0ae4650a6d" providerId="LiveId" clId="{5666174E-1FDC-4381-AE72-96AAAE51F635}" dt="2025-02-18T07:22:24.148" v="24689" actId="1076"/>
          <ac:cxnSpMkLst>
            <pc:docMk/>
            <pc:sldMk cId="704571891" sldId="4081"/>
            <ac:cxnSpMk id="106" creationId="{E9391D27-BC83-69C9-CDD0-E0EDA42D4578}"/>
          </ac:cxnSpMkLst>
        </pc:cxnChg>
        <pc:cxnChg chg="add mod">
          <ac:chgData name="Rizky Fajar" userId="490a5c0ae4650a6d" providerId="LiveId" clId="{5666174E-1FDC-4381-AE72-96AAAE51F635}" dt="2025-02-18T07:23:26.147" v="24712" actId="1035"/>
          <ac:cxnSpMkLst>
            <pc:docMk/>
            <pc:sldMk cId="704571891" sldId="4081"/>
            <ac:cxnSpMk id="111" creationId="{33FE6A20-A15D-4FFD-572A-CC93FDBEC0FC}"/>
          </ac:cxnSpMkLst>
        </pc:cxnChg>
        <pc:cxnChg chg="add mod">
          <ac:chgData name="Rizky Fajar" userId="490a5c0ae4650a6d" providerId="LiveId" clId="{5666174E-1FDC-4381-AE72-96AAAE51F635}" dt="2025-02-18T07:22:59.273" v="24702" actId="1076"/>
          <ac:cxnSpMkLst>
            <pc:docMk/>
            <pc:sldMk cId="704571891" sldId="4081"/>
            <ac:cxnSpMk id="114" creationId="{781861C5-70D3-3540-AB08-F74204701902}"/>
          </ac:cxnSpMkLst>
        </pc:cxnChg>
        <pc:cxnChg chg="add mod">
          <ac:chgData name="Rizky Fajar" userId="490a5c0ae4650a6d" providerId="LiveId" clId="{5666174E-1FDC-4381-AE72-96AAAE51F635}" dt="2025-02-18T07:22:24.148" v="24689" actId="1076"/>
          <ac:cxnSpMkLst>
            <pc:docMk/>
            <pc:sldMk cId="704571891" sldId="4081"/>
            <ac:cxnSpMk id="127" creationId="{568E70A6-8491-328E-2233-9673AD565B56}"/>
          </ac:cxnSpMkLst>
        </pc:cxnChg>
        <pc:cxnChg chg="add mod">
          <ac:chgData name="Rizky Fajar" userId="490a5c0ae4650a6d" providerId="LiveId" clId="{5666174E-1FDC-4381-AE72-96AAAE51F635}" dt="2025-02-18T07:23:26.147" v="24712" actId="1035"/>
          <ac:cxnSpMkLst>
            <pc:docMk/>
            <pc:sldMk cId="704571891" sldId="4081"/>
            <ac:cxnSpMk id="142" creationId="{CC793322-4B61-BA07-3850-6DD6026C70FF}"/>
          </ac:cxnSpMkLst>
        </pc:cxnChg>
        <pc:cxnChg chg="add mod">
          <ac:chgData name="Rizky Fajar" userId="490a5c0ae4650a6d" providerId="LiveId" clId="{5666174E-1FDC-4381-AE72-96AAAE51F635}" dt="2025-02-18T07:30:11.538" v="24758" actId="1076"/>
          <ac:cxnSpMkLst>
            <pc:docMk/>
            <pc:sldMk cId="704571891" sldId="4081"/>
            <ac:cxnSpMk id="144" creationId="{6301CBB6-A24C-2D87-5FCC-B77C02467D86}"/>
          </ac:cxnSpMkLst>
        </pc:cxnChg>
      </pc:sldChg>
      <pc:sldChg chg="addSp delSp modSp add mod">
        <pc:chgData name="Rizky Fajar" userId="490a5c0ae4650a6d" providerId="LiveId" clId="{5666174E-1FDC-4381-AE72-96AAAE51F635}" dt="2025-02-18T13:10:35.054" v="28720" actId="478"/>
        <pc:sldMkLst>
          <pc:docMk/>
          <pc:sldMk cId="1728683986" sldId="4082"/>
        </pc:sldMkLst>
        <pc:spChg chg="add mod">
          <ac:chgData name="Rizky Fajar" userId="490a5c0ae4650a6d" providerId="LiveId" clId="{5666174E-1FDC-4381-AE72-96AAAE51F635}" dt="2025-02-18T11:58:29.362" v="28593" actId="20577"/>
          <ac:spMkLst>
            <pc:docMk/>
            <pc:sldMk cId="1728683986" sldId="4082"/>
            <ac:spMk id="13" creationId="{81265977-2F31-9DA6-D2B7-85040CB02DA3}"/>
          </ac:spMkLst>
        </pc:spChg>
        <pc:spChg chg="add mod topLvl">
          <ac:chgData name="Rizky Fajar" userId="490a5c0ae4650a6d" providerId="LiveId" clId="{5666174E-1FDC-4381-AE72-96AAAE51F635}" dt="2025-02-18T10:40:47.351" v="26214" actId="207"/>
          <ac:spMkLst>
            <pc:docMk/>
            <pc:sldMk cId="1728683986" sldId="4082"/>
            <ac:spMk id="19" creationId="{9E02E5A2-B252-F2A5-11C2-71767C490832}"/>
          </ac:spMkLst>
        </pc:spChg>
        <pc:spChg chg="add del mod ord topLvl">
          <ac:chgData name="Rizky Fajar" userId="490a5c0ae4650a6d" providerId="LiveId" clId="{5666174E-1FDC-4381-AE72-96AAAE51F635}" dt="2025-02-18T10:33:20.836" v="25705" actId="164"/>
          <ac:spMkLst>
            <pc:docMk/>
            <pc:sldMk cId="1728683986" sldId="4082"/>
            <ac:spMk id="37" creationId="{61A1D845-7F4C-7F5C-0946-9C32EAF29452}"/>
          </ac:spMkLst>
        </pc:spChg>
        <pc:spChg chg="add mod">
          <ac:chgData name="Rizky Fajar" userId="490a5c0ae4650a6d" providerId="LiveId" clId="{5666174E-1FDC-4381-AE72-96AAAE51F635}" dt="2025-02-18T10:58:55.612" v="27368" actId="20577"/>
          <ac:spMkLst>
            <pc:docMk/>
            <pc:sldMk cId="1728683986" sldId="4082"/>
            <ac:spMk id="44" creationId="{754D4421-FAA0-9F1E-1702-53338685E814}"/>
          </ac:spMkLst>
        </pc:spChg>
        <pc:spChg chg="add mod">
          <ac:chgData name="Rizky Fajar" userId="490a5c0ae4650a6d" providerId="LiveId" clId="{5666174E-1FDC-4381-AE72-96AAAE51F635}" dt="2025-02-18T10:29:12.022" v="25618" actId="164"/>
          <ac:spMkLst>
            <pc:docMk/>
            <pc:sldMk cId="1728683986" sldId="4082"/>
            <ac:spMk id="56" creationId="{A5F48FE8-40AC-1757-4FA7-2745B5FBA58F}"/>
          </ac:spMkLst>
        </pc:spChg>
        <pc:spChg chg="add mod">
          <ac:chgData name="Rizky Fajar" userId="490a5c0ae4650a6d" providerId="LiveId" clId="{5666174E-1FDC-4381-AE72-96AAAE51F635}" dt="2025-02-18T10:29:39.345" v="25624" actId="164"/>
          <ac:spMkLst>
            <pc:docMk/>
            <pc:sldMk cId="1728683986" sldId="4082"/>
            <ac:spMk id="63" creationId="{3593AA87-4E1B-0735-8499-DEFA5C22F8F4}"/>
          </ac:spMkLst>
        </pc:spChg>
        <pc:spChg chg="add mod">
          <ac:chgData name="Rizky Fajar" userId="490a5c0ae4650a6d" providerId="LiveId" clId="{5666174E-1FDC-4381-AE72-96AAAE51F635}" dt="2025-02-18T10:29:34.158" v="25621" actId="164"/>
          <ac:spMkLst>
            <pc:docMk/>
            <pc:sldMk cId="1728683986" sldId="4082"/>
            <ac:spMk id="64" creationId="{11493085-ACF0-8483-2685-9EE9FC5D4DF3}"/>
          </ac:spMkLst>
        </pc:spChg>
        <pc:spChg chg="add mod">
          <ac:chgData name="Rizky Fajar" userId="490a5c0ae4650a6d" providerId="LiveId" clId="{5666174E-1FDC-4381-AE72-96AAAE51F635}" dt="2025-02-18T10:29:30.611" v="25620" actId="164"/>
          <ac:spMkLst>
            <pc:docMk/>
            <pc:sldMk cId="1728683986" sldId="4082"/>
            <ac:spMk id="66" creationId="{8531570D-04CA-7A4B-BD80-C541CA23795B}"/>
          </ac:spMkLst>
        </pc:spChg>
        <pc:spChg chg="mod">
          <ac:chgData name="Rizky Fajar" userId="490a5c0ae4650a6d" providerId="LiveId" clId="{5666174E-1FDC-4381-AE72-96AAAE51F635}" dt="2025-02-18T10:33:22.445" v="25706" actId="571"/>
          <ac:spMkLst>
            <pc:docMk/>
            <pc:sldMk cId="1728683986" sldId="4082"/>
            <ac:spMk id="150" creationId="{056EC8BC-E6C4-26E8-9E51-72D99AC718A1}"/>
          </ac:spMkLst>
        </pc:spChg>
        <pc:spChg chg="mod">
          <ac:chgData name="Rizky Fajar" userId="490a5c0ae4650a6d" providerId="LiveId" clId="{5666174E-1FDC-4381-AE72-96AAAE51F635}" dt="2025-02-18T10:33:22.445" v="25706" actId="571"/>
          <ac:spMkLst>
            <pc:docMk/>
            <pc:sldMk cId="1728683986" sldId="4082"/>
            <ac:spMk id="151" creationId="{0A1D4D3F-3AB8-8068-FD6C-42689D4A23B3}"/>
          </ac:spMkLst>
        </pc:spChg>
        <pc:spChg chg="mod">
          <ac:chgData name="Rizky Fajar" userId="490a5c0ae4650a6d" providerId="LiveId" clId="{5666174E-1FDC-4381-AE72-96AAAE51F635}" dt="2025-02-18T10:35:19.475" v="25849" actId="404"/>
          <ac:spMkLst>
            <pc:docMk/>
            <pc:sldMk cId="1728683986" sldId="4082"/>
            <ac:spMk id="157" creationId="{60185F84-0A8B-99D7-1DDD-16A4F8BDF72A}"/>
          </ac:spMkLst>
        </pc:spChg>
        <pc:spChg chg="mod">
          <ac:chgData name="Rizky Fajar" userId="490a5c0ae4650a6d" providerId="LiveId" clId="{5666174E-1FDC-4381-AE72-96AAAE51F635}" dt="2025-02-18T10:35:17.569" v="25848" actId="404"/>
          <ac:spMkLst>
            <pc:docMk/>
            <pc:sldMk cId="1728683986" sldId="4082"/>
            <ac:spMk id="159" creationId="{021CA9F5-CF72-2F8F-F27C-9F91E2C11B8B}"/>
          </ac:spMkLst>
        </pc:spChg>
        <pc:spChg chg="mod">
          <ac:chgData name="Rizky Fajar" userId="490a5c0ae4650a6d" providerId="LiveId" clId="{5666174E-1FDC-4381-AE72-96AAAE51F635}" dt="2025-02-18T10:35:14.397" v="25846" actId="404"/>
          <ac:spMkLst>
            <pc:docMk/>
            <pc:sldMk cId="1728683986" sldId="4082"/>
            <ac:spMk id="161" creationId="{0B593312-06B1-7F07-72C7-9F662D1EA8E4}"/>
          </ac:spMkLst>
        </pc:spChg>
        <pc:spChg chg="mod">
          <ac:chgData name="Rizky Fajar" userId="490a5c0ae4650a6d" providerId="LiveId" clId="{5666174E-1FDC-4381-AE72-96AAAE51F635}" dt="2025-02-18T10:35:10.428" v="25845" actId="1076"/>
          <ac:spMkLst>
            <pc:docMk/>
            <pc:sldMk cId="1728683986" sldId="4082"/>
            <ac:spMk id="163" creationId="{3F88ABAC-65D5-FFB0-C933-D047097BBCD1}"/>
          </ac:spMkLst>
        </pc:spChg>
        <pc:spChg chg="add mod">
          <ac:chgData name="Rizky Fajar" userId="490a5c0ae4650a6d" providerId="LiveId" clId="{5666174E-1FDC-4381-AE72-96AAAE51F635}" dt="2025-02-18T10:52:40.164" v="26712" actId="404"/>
          <ac:spMkLst>
            <pc:docMk/>
            <pc:sldMk cId="1728683986" sldId="4082"/>
            <ac:spMk id="164" creationId="{14C2A7AF-2EB8-DA25-7613-020858DE08CF}"/>
          </ac:spMkLst>
        </pc:spChg>
        <pc:spChg chg="mod">
          <ac:chgData name="Rizky Fajar" userId="490a5c0ae4650a6d" providerId="LiveId" clId="{5666174E-1FDC-4381-AE72-96AAAE51F635}" dt="2025-02-18T10:35:30.303" v="25862" actId="571"/>
          <ac:spMkLst>
            <pc:docMk/>
            <pc:sldMk cId="1728683986" sldId="4082"/>
            <ac:spMk id="166" creationId="{9E37DD49-012A-9F12-6764-7B9B82F72C2D}"/>
          </ac:spMkLst>
        </pc:spChg>
        <pc:spChg chg="mod">
          <ac:chgData name="Rizky Fajar" userId="490a5c0ae4650a6d" providerId="LiveId" clId="{5666174E-1FDC-4381-AE72-96AAAE51F635}" dt="2025-02-18T10:35:30.303" v="25862" actId="571"/>
          <ac:spMkLst>
            <pc:docMk/>
            <pc:sldMk cId="1728683986" sldId="4082"/>
            <ac:spMk id="167" creationId="{0DC2D12F-E175-1947-8AB7-99EB310E47AC}"/>
          </ac:spMkLst>
        </pc:spChg>
        <pc:spChg chg="mod">
          <ac:chgData name="Rizky Fajar" userId="490a5c0ae4650a6d" providerId="LiveId" clId="{5666174E-1FDC-4381-AE72-96AAAE51F635}" dt="2025-02-18T10:35:55.538" v="25922" actId="20577"/>
          <ac:spMkLst>
            <pc:docMk/>
            <pc:sldMk cId="1728683986" sldId="4082"/>
            <ac:spMk id="173" creationId="{1A756BF2-9541-7B0C-FE87-D40C7DA7F5AB}"/>
          </ac:spMkLst>
        </pc:spChg>
        <pc:spChg chg="mod">
          <ac:chgData name="Rizky Fajar" userId="490a5c0ae4650a6d" providerId="LiveId" clId="{5666174E-1FDC-4381-AE72-96AAAE51F635}" dt="2025-02-18T10:35:50.397" v="25914" actId="20577"/>
          <ac:spMkLst>
            <pc:docMk/>
            <pc:sldMk cId="1728683986" sldId="4082"/>
            <ac:spMk id="175" creationId="{B2DAB6FB-6346-58F4-8C2C-9EE5A56ED86F}"/>
          </ac:spMkLst>
        </pc:spChg>
        <pc:spChg chg="mod">
          <ac:chgData name="Rizky Fajar" userId="490a5c0ae4650a6d" providerId="LiveId" clId="{5666174E-1FDC-4381-AE72-96AAAE51F635}" dt="2025-02-18T10:35:47.428" v="25908" actId="20577"/>
          <ac:spMkLst>
            <pc:docMk/>
            <pc:sldMk cId="1728683986" sldId="4082"/>
            <ac:spMk id="177" creationId="{A3EB056E-F0F3-25E7-030A-8E76ACFC3A59}"/>
          </ac:spMkLst>
        </pc:spChg>
        <pc:spChg chg="mod">
          <ac:chgData name="Rizky Fajar" userId="490a5c0ae4650a6d" providerId="LiveId" clId="{5666174E-1FDC-4381-AE72-96AAAE51F635}" dt="2025-02-18T10:35:44.272" v="25902" actId="20577"/>
          <ac:spMkLst>
            <pc:docMk/>
            <pc:sldMk cId="1728683986" sldId="4082"/>
            <ac:spMk id="179" creationId="{8DB70215-B8B5-E341-F36A-AAFD348676B6}"/>
          </ac:spMkLst>
        </pc:spChg>
        <pc:spChg chg="add mod">
          <ac:chgData name="Rizky Fajar" userId="490a5c0ae4650a6d" providerId="LiveId" clId="{5666174E-1FDC-4381-AE72-96AAAE51F635}" dt="2025-02-18T10:52:12.898" v="26675" actId="404"/>
          <ac:spMkLst>
            <pc:docMk/>
            <pc:sldMk cId="1728683986" sldId="4082"/>
            <ac:spMk id="180" creationId="{CD79A36F-8F95-E081-74AB-9071D60C85C2}"/>
          </ac:spMkLst>
        </pc:spChg>
        <pc:spChg chg="mod topLvl">
          <ac:chgData name="Rizky Fajar" userId="490a5c0ae4650a6d" providerId="LiveId" clId="{5666174E-1FDC-4381-AE72-96AAAE51F635}" dt="2025-02-18T10:46:47.257" v="26483" actId="164"/>
          <ac:spMkLst>
            <pc:docMk/>
            <pc:sldMk cId="1728683986" sldId="4082"/>
            <ac:spMk id="182" creationId="{6E9F5C1A-6EE9-DD8E-03CA-EFEEA4166B79}"/>
          </ac:spMkLst>
        </pc:spChg>
        <pc:spChg chg="mod topLvl">
          <ac:chgData name="Rizky Fajar" userId="490a5c0ae4650a6d" providerId="LiveId" clId="{5666174E-1FDC-4381-AE72-96AAAE51F635}" dt="2025-02-18T10:46:47.257" v="26483" actId="164"/>
          <ac:spMkLst>
            <pc:docMk/>
            <pc:sldMk cId="1728683986" sldId="4082"/>
            <ac:spMk id="183" creationId="{60825D14-0391-E51F-FD88-2E4CCE570F25}"/>
          </ac:spMkLst>
        </pc:spChg>
        <pc:spChg chg="mod">
          <ac:chgData name="Rizky Fajar" userId="490a5c0ae4650a6d" providerId="LiveId" clId="{5666174E-1FDC-4381-AE72-96AAAE51F635}" dt="2025-02-18T10:37:57.351" v="26007" actId="165"/>
          <ac:spMkLst>
            <pc:docMk/>
            <pc:sldMk cId="1728683986" sldId="4082"/>
            <ac:spMk id="189" creationId="{881CFA9E-4F3C-1348-57ED-B9D4D6D2C170}"/>
          </ac:spMkLst>
        </pc:spChg>
        <pc:spChg chg="mod">
          <ac:chgData name="Rizky Fajar" userId="490a5c0ae4650a6d" providerId="LiveId" clId="{5666174E-1FDC-4381-AE72-96AAAE51F635}" dt="2025-02-18T11:16:48.755" v="27737" actId="1076"/>
          <ac:spMkLst>
            <pc:docMk/>
            <pc:sldMk cId="1728683986" sldId="4082"/>
            <ac:spMk id="191" creationId="{CAC6F4A8-76DF-665B-1CB5-5F17B3FA8CD6}"/>
          </ac:spMkLst>
        </pc:spChg>
        <pc:spChg chg="mod">
          <ac:chgData name="Rizky Fajar" userId="490a5c0ae4650a6d" providerId="LiveId" clId="{5666174E-1FDC-4381-AE72-96AAAE51F635}" dt="2025-02-18T10:37:57.351" v="26007" actId="165"/>
          <ac:spMkLst>
            <pc:docMk/>
            <pc:sldMk cId="1728683986" sldId="4082"/>
            <ac:spMk id="193" creationId="{853E9799-DCD1-12F6-7B26-DC380F764062}"/>
          </ac:spMkLst>
        </pc:spChg>
        <pc:spChg chg="add mod">
          <ac:chgData name="Rizky Fajar" userId="490a5c0ae4650a6d" providerId="LiveId" clId="{5666174E-1FDC-4381-AE72-96AAAE51F635}" dt="2025-02-18T10:52:36.570" v="26711" actId="20577"/>
          <ac:spMkLst>
            <pc:docMk/>
            <pc:sldMk cId="1728683986" sldId="4082"/>
            <ac:spMk id="196" creationId="{105774F8-0830-E18D-A4CD-DDAF7671EFD8}"/>
          </ac:spMkLst>
        </pc:spChg>
        <pc:spChg chg="mod">
          <ac:chgData name="Rizky Fajar" userId="490a5c0ae4650a6d" providerId="LiveId" clId="{5666174E-1FDC-4381-AE72-96AAAE51F635}" dt="2025-02-18T10:36:42.715" v="25964" actId="571"/>
          <ac:spMkLst>
            <pc:docMk/>
            <pc:sldMk cId="1728683986" sldId="4082"/>
            <ac:spMk id="198" creationId="{CD396F2E-6FEF-34EF-A0B3-F7B9D368754A}"/>
          </ac:spMkLst>
        </pc:spChg>
        <pc:spChg chg="mod">
          <ac:chgData name="Rizky Fajar" userId="490a5c0ae4650a6d" providerId="LiveId" clId="{5666174E-1FDC-4381-AE72-96AAAE51F635}" dt="2025-02-18T10:36:42.715" v="25964" actId="571"/>
          <ac:spMkLst>
            <pc:docMk/>
            <pc:sldMk cId="1728683986" sldId="4082"/>
            <ac:spMk id="199" creationId="{CD16B40E-EDB2-3C5D-E2B6-806615A40D81}"/>
          </ac:spMkLst>
        </pc:spChg>
        <pc:spChg chg="mod">
          <ac:chgData name="Rizky Fajar" userId="490a5c0ae4650a6d" providerId="LiveId" clId="{5666174E-1FDC-4381-AE72-96AAAE51F635}" dt="2025-02-18T11:23:59.539" v="27927" actId="1076"/>
          <ac:spMkLst>
            <pc:docMk/>
            <pc:sldMk cId="1728683986" sldId="4082"/>
            <ac:spMk id="209" creationId="{559C7614-3E68-AAB7-E9A6-BFA34FF3B075}"/>
          </ac:spMkLst>
        </pc:spChg>
        <pc:spChg chg="mod">
          <ac:chgData name="Rizky Fajar" userId="490a5c0ae4650a6d" providerId="LiveId" clId="{5666174E-1FDC-4381-AE72-96AAAE51F635}" dt="2025-02-18T11:24:03.461" v="27928" actId="1076"/>
          <ac:spMkLst>
            <pc:docMk/>
            <pc:sldMk cId="1728683986" sldId="4082"/>
            <ac:spMk id="211" creationId="{AE01F4E3-E2AC-9316-9D75-1050FE24FCF5}"/>
          </ac:spMkLst>
        </pc:spChg>
        <pc:spChg chg="add mod">
          <ac:chgData name="Rizky Fajar" userId="490a5c0ae4650a6d" providerId="LiveId" clId="{5666174E-1FDC-4381-AE72-96AAAE51F635}" dt="2025-02-18T10:52:33.414" v="26709" actId="20577"/>
          <ac:spMkLst>
            <pc:docMk/>
            <pc:sldMk cId="1728683986" sldId="4082"/>
            <ac:spMk id="212" creationId="{C963449D-49F8-061C-7C09-186B63859812}"/>
          </ac:spMkLst>
        </pc:spChg>
        <pc:spChg chg="add mod or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14" creationId="{4C34E87C-E343-FD7A-3AFB-839BEC4B9CC4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22" creationId="{F44EDC6F-ACB0-428F-CA44-377B695A2D0B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35" creationId="{2B18BF07-2FE6-D06E-C59B-EC2EEEA5B793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36" creationId="{6B809899-9A87-9856-6BD6-21409AB1EC03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37" creationId="{6D0766C5-D60F-D455-5B1E-20F4D58C527A}"/>
          </ac:spMkLst>
        </pc:spChg>
        <pc:spChg chg="add mod">
          <ac:chgData name="Rizky Fajar" userId="490a5c0ae4650a6d" providerId="LiveId" clId="{5666174E-1FDC-4381-AE72-96AAAE51F635}" dt="2025-02-18T11:17:30.273" v="27740" actId="404"/>
          <ac:spMkLst>
            <pc:docMk/>
            <pc:sldMk cId="1728683986" sldId="4082"/>
            <ac:spMk id="249" creationId="{9FB63D11-22BD-AFD3-3FAF-93D7A4B6BCEE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58" creationId="{AFE1ACAE-386F-F884-E0B3-B2445CD86C23}"/>
          </ac:spMkLst>
        </pc:spChg>
        <pc:spChg chg="add mod topLvl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59" creationId="{4E3DB16C-8B24-1CC9-CE51-E4B1360E3873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61" creationId="{D33734EB-DD1B-F97B-07E5-117674533776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62" creationId="{9249DA84-E4BF-B40A-13A9-FF0AB9B6F310}"/>
          </ac:spMkLst>
        </pc:spChg>
        <pc:spChg chg="add del mod ord topLvl">
          <ac:chgData name="Rizky Fajar" userId="490a5c0ae4650a6d" providerId="LiveId" clId="{5666174E-1FDC-4381-AE72-96AAAE51F635}" dt="2025-02-18T11:20:30.891" v="27793" actId="208"/>
          <ac:spMkLst>
            <pc:docMk/>
            <pc:sldMk cId="1728683986" sldId="4082"/>
            <ac:spMk id="264" creationId="{3CD4C35C-552C-67FA-1979-A2F513B0EF0D}"/>
          </ac:spMkLst>
        </pc:spChg>
        <pc:spChg chg="mod">
          <ac:chgData name="Rizky Fajar" userId="490a5c0ae4650a6d" providerId="LiveId" clId="{5666174E-1FDC-4381-AE72-96AAAE51F635}" dt="2025-02-18T11:17:23.804" v="27738" actId="255"/>
          <ac:spMkLst>
            <pc:docMk/>
            <pc:sldMk cId="1728683986" sldId="4082"/>
            <ac:spMk id="340" creationId="{E55C982B-9365-ECE2-D01C-313DB0BED1D2}"/>
          </ac:spMkLst>
        </pc:spChg>
        <pc:spChg chg="add del mod">
          <ac:chgData name="Rizky Fajar" userId="490a5c0ae4650a6d" providerId="LiveId" clId="{5666174E-1FDC-4381-AE72-96AAAE51F635}" dt="2025-02-18T11:20:54.883" v="27800" actId="208"/>
          <ac:spMkLst>
            <pc:docMk/>
            <pc:sldMk cId="1728683986" sldId="4082"/>
            <ac:spMk id="341" creationId="{02EB07B6-852D-3A7C-E233-59FB1BB52C7C}"/>
          </ac:spMkLst>
        </pc:spChg>
        <pc:spChg chg="mod topLvl">
          <ac:chgData name="Rizky Fajar" userId="490a5c0ae4650a6d" providerId="LiveId" clId="{5666174E-1FDC-4381-AE72-96AAAE51F635}" dt="2025-02-18T11:29:32.023" v="28129" actId="14100"/>
          <ac:spMkLst>
            <pc:docMk/>
            <pc:sldMk cId="1728683986" sldId="4082"/>
            <ac:spMk id="370" creationId="{B1155ED5-1A83-9086-2976-A7EDECFCAB4C}"/>
          </ac:spMkLst>
        </pc:spChg>
        <pc:spChg chg="mod topLvl">
          <ac:chgData name="Rizky Fajar" userId="490a5c0ae4650a6d" providerId="LiveId" clId="{5666174E-1FDC-4381-AE72-96AAAE51F635}" dt="2025-02-18T11:22:35.101" v="27860" actId="164"/>
          <ac:spMkLst>
            <pc:docMk/>
            <pc:sldMk cId="1728683986" sldId="4082"/>
            <ac:spMk id="371" creationId="{BF71FFE0-4964-BB61-6837-90E67F51CEFA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383" creationId="{E852C4DF-B681-1A18-B49A-6AD4C69901B6}"/>
          </ac:spMkLst>
        </pc:spChg>
        <pc:spChg chg="add mod ord">
          <ac:chgData name="Rizky Fajar" userId="490a5c0ae4650a6d" providerId="LiveId" clId="{5666174E-1FDC-4381-AE72-96AAAE51F635}" dt="2025-02-18T11:33:00.695" v="28319" actId="164"/>
          <ac:spMkLst>
            <pc:docMk/>
            <pc:sldMk cId="1728683986" sldId="4082"/>
            <ac:spMk id="396" creationId="{F7AF2C66-BBCB-B3CB-31DF-4F8C2411CBA9}"/>
          </ac:spMkLst>
        </pc:spChg>
        <pc:spChg chg="add mod topLvl">
          <ac:chgData name="Rizky Fajar" userId="490a5c0ae4650a6d" providerId="LiveId" clId="{5666174E-1FDC-4381-AE72-96AAAE51F635}" dt="2025-02-18T11:33:00.695" v="28319" actId="164"/>
          <ac:spMkLst>
            <pc:docMk/>
            <pc:sldMk cId="1728683986" sldId="4082"/>
            <ac:spMk id="406" creationId="{1C60631A-F59F-B7AA-5BE2-5A4EDC4696AE}"/>
          </ac:spMkLst>
        </pc:spChg>
        <pc:spChg chg="add mod">
          <ac:chgData name="Rizky Fajar" userId="490a5c0ae4650a6d" providerId="LiveId" clId="{5666174E-1FDC-4381-AE72-96AAAE51F635}" dt="2025-02-18T11:33:00.695" v="28319" actId="164"/>
          <ac:spMkLst>
            <pc:docMk/>
            <pc:sldMk cId="1728683986" sldId="4082"/>
            <ac:spMk id="414" creationId="{F20C22DF-52FF-2251-FC9F-181382967C30}"/>
          </ac:spMkLst>
        </pc:spChg>
        <pc:spChg chg="add mod">
          <ac:chgData name="Rizky Fajar" userId="490a5c0ae4650a6d" providerId="LiveId" clId="{5666174E-1FDC-4381-AE72-96AAAE51F635}" dt="2025-02-18T13:01:53.584" v="28670" actId="1076"/>
          <ac:spMkLst>
            <pc:docMk/>
            <pc:sldMk cId="1728683986" sldId="4082"/>
            <ac:spMk id="417" creationId="{80A87D9D-C3CB-175B-B816-91272806E8C1}"/>
          </ac:spMkLst>
        </pc:spChg>
        <pc:grpChg chg="mod">
          <ac:chgData name="Rizky Fajar" userId="490a5c0ae4650a6d" providerId="LiveId" clId="{5666174E-1FDC-4381-AE72-96AAAE51F635}" dt="2025-02-18T10:59:49.206" v="27378" actId="1076"/>
          <ac:grpSpMkLst>
            <pc:docMk/>
            <pc:sldMk cId="1728683986" sldId="4082"/>
            <ac:grpSpMk id="4" creationId="{AE762657-6E26-0F22-2346-D662B215C69C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69" creationId="{D1837654-FCA5-3027-EF69-3F99F08CA206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70" creationId="{A9D36DD9-A79B-E139-2886-71C8A06D34C7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72" creationId="{DADE5E60-5ABF-0496-B8E7-062F5ADFC0A9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74" creationId="{C40A1E3C-68A0-C37A-D73B-DDDE2529875E}"/>
          </ac:grpSpMkLst>
        </pc:grpChg>
        <pc:grpChg chg="add mod">
          <ac:chgData name="Rizky Fajar" userId="490a5c0ae4650a6d" providerId="LiveId" clId="{5666174E-1FDC-4381-AE72-96AAAE51F635}" dt="2025-02-18T10:37:28.337" v="25975" actId="164"/>
          <ac:grpSpMkLst>
            <pc:docMk/>
            <pc:sldMk cId="1728683986" sldId="4082"/>
            <ac:grpSpMk id="148" creationId="{2A016055-3A86-E187-71D6-2C346132E186}"/>
          </ac:grpSpMkLst>
        </pc:grpChg>
        <pc:grpChg chg="mod">
          <ac:chgData name="Rizky Fajar" userId="490a5c0ae4650a6d" providerId="LiveId" clId="{5666174E-1FDC-4381-AE72-96AAAE51F635}" dt="2025-02-18T10:47:03.117" v="26488" actId="164"/>
          <ac:grpSpMkLst>
            <pc:docMk/>
            <pc:sldMk cId="1728683986" sldId="4082"/>
            <ac:grpSpMk id="149" creationId="{7F852420-FD65-7BE6-CE04-C3D9801A60BE}"/>
          </ac:grpSpMkLst>
        </pc:grpChg>
        <pc:grpChg chg="mod">
          <ac:chgData name="Rizky Fajar" userId="490a5c0ae4650a6d" providerId="LiveId" clId="{5666174E-1FDC-4381-AE72-96AAAE51F635}" dt="2025-02-18T10:46:57.679" v="26487" actId="164"/>
          <ac:grpSpMkLst>
            <pc:docMk/>
            <pc:sldMk cId="1728683986" sldId="4082"/>
            <ac:grpSpMk id="165" creationId="{796694F5-B72B-2D7D-7BEE-B22DCB9E14F1}"/>
          </ac:grpSpMkLst>
        </pc:grpChg>
        <pc:grpChg chg="mod topLvl">
          <ac:chgData name="Rizky Fajar" userId="490a5c0ae4650a6d" providerId="LiveId" clId="{5666174E-1FDC-4381-AE72-96AAAE51F635}" dt="2025-02-18T10:46:47.257" v="26483" actId="164"/>
          <ac:grpSpMkLst>
            <pc:docMk/>
            <pc:sldMk cId="1728683986" sldId="4082"/>
            <ac:grpSpMk id="185" creationId="{54670AE3-07B2-5790-48FC-A3D401248F6F}"/>
          </ac:grpSpMkLst>
        </pc:grpChg>
        <pc:grpChg chg="mod topLvl">
          <ac:chgData name="Rizky Fajar" userId="490a5c0ae4650a6d" providerId="LiveId" clId="{5666174E-1FDC-4381-AE72-96AAAE51F635}" dt="2025-02-18T10:46:47.257" v="26483" actId="164"/>
          <ac:grpSpMkLst>
            <pc:docMk/>
            <pc:sldMk cId="1728683986" sldId="4082"/>
            <ac:grpSpMk id="186" creationId="{E72F08E0-380C-7EB8-7E5E-76D6341ADA1B}"/>
          </ac:grpSpMkLst>
        </pc:grpChg>
        <pc:grpChg chg="mod">
          <ac:chgData name="Rizky Fajar" userId="490a5c0ae4650a6d" providerId="LiveId" clId="{5666174E-1FDC-4381-AE72-96AAAE51F635}" dt="2025-02-18T10:46:47.257" v="26483" actId="164"/>
          <ac:grpSpMkLst>
            <pc:docMk/>
            <pc:sldMk cId="1728683986" sldId="4082"/>
            <ac:grpSpMk id="187" creationId="{4F00C6E5-FB6E-49E3-9D8D-46851AC35C3D}"/>
          </ac:grpSpMkLst>
        </pc:grpChg>
        <pc:grpChg chg="mod">
          <ac:chgData name="Rizky Fajar" userId="490a5c0ae4650a6d" providerId="LiveId" clId="{5666174E-1FDC-4381-AE72-96AAAE51F635}" dt="2025-02-18T10:46:52.414" v="26484" actId="164"/>
          <ac:grpSpMkLst>
            <pc:docMk/>
            <pc:sldMk cId="1728683986" sldId="4082"/>
            <ac:grpSpMk id="197" creationId="{4CA2D114-31AE-2D9F-AC77-D82A27BBD4EB}"/>
          </ac:grpSpMkLst>
        </pc:grpChg>
        <pc:grpChg chg="add mod">
          <ac:chgData name="Rizky Fajar" userId="490a5c0ae4650a6d" providerId="LiveId" clId="{5666174E-1FDC-4381-AE72-96AAAE51F635}" dt="2025-02-18T10:58:24.237" v="27343" actId="1076"/>
          <ac:grpSpMkLst>
            <pc:docMk/>
            <pc:sldMk cId="1728683986" sldId="4082"/>
            <ac:grpSpMk id="213" creationId="{B9E27671-C5A7-DB1C-B0D5-A07895CE85CE}"/>
          </ac:grpSpMkLst>
        </pc:grpChg>
        <pc:grpChg chg="add mod">
          <ac:chgData name="Rizky Fajar" userId="490a5c0ae4650a6d" providerId="LiveId" clId="{5666174E-1FDC-4381-AE72-96AAAE51F635}" dt="2025-02-18T11:18:30.272" v="27752" actId="1076"/>
          <ac:grpSpMkLst>
            <pc:docMk/>
            <pc:sldMk cId="1728683986" sldId="4082"/>
            <ac:grpSpMk id="238" creationId="{39C47D47-15B5-DC1C-DE47-B98DF4C47EDD}"/>
          </ac:grpSpMkLst>
        </pc:grpChg>
        <pc:grpChg chg="add mod">
          <ac:chgData name="Rizky Fajar" userId="490a5c0ae4650a6d" providerId="LiveId" clId="{5666174E-1FDC-4381-AE72-96AAAE51F635}" dt="2025-02-18T11:03:46.816" v="27465" actId="1037"/>
          <ac:grpSpMkLst>
            <pc:docMk/>
            <pc:sldMk cId="1728683986" sldId="4082"/>
            <ac:grpSpMk id="239" creationId="{70709075-A9D6-DD9F-5146-A906EE7171EF}"/>
          </ac:grpSpMkLst>
        </pc:grpChg>
        <pc:grpChg chg="add mod">
          <ac:chgData name="Rizky Fajar" userId="490a5c0ae4650a6d" providerId="LiveId" clId="{5666174E-1FDC-4381-AE72-96AAAE51F635}" dt="2025-02-18T11:18:30.272" v="27752" actId="1076"/>
          <ac:grpSpMkLst>
            <pc:docMk/>
            <pc:sldMk cId="1728683986" sldId="4082"/>
            <ac:grpSpMk id="240" creationId="{C68DDCAB-1186-EC94-8158-E0EB20DE94BC}"/>
          </ac:grpSpMkLst>
        </pc:grpChg>
        <pc:grpChg chg="add mod">
          <ac:chgData name="Rizky Fajar" userId="490a5c0ae4650a6d" providerId="LiveId" clId="{5666174E-1FDC-4381-AE72-96AAAE51F635}" dt="2025-02-18T11:19:49.726" v="27787" actId="14100"/>
          <ac:grpSpMkLst>
            <pc:docMk/>
            <pc:sldMk cId="1728683986" sldId="4082"/>
            <ac:grpSpMk id="241" creationId="{EE5BE66B-5260-7686-6581-2EBF4970487A}"/>
          </ac:grpSpMkLst>
        </pc:grpChg>
        <pc:grpChg chg="add del mod">
          <ac:chgData name="Rizky Fajar" userId="490a5c0ae4650a6d" providerId="LiveId" clId="{5666174E-1FDC-4381-AE72-96AAAE51F635}" dt="2025-02-18T11:08:10.074" v="27569" actId="164"/>
          <ac:grpSpMkLst>
            <pc:docMk/>
            <pc:sldMk cId="1728683986" sldId="4082"/>
            <ac:grpSpMk id="269" creationId="{4665DDB0-B461-D1E2-C652-11540933BB10}"/>
          </ac:grpSpMkLst>
        </pc:grpChg>
        <pc:grpChg chg="add mod">
          <ac:chgData name="Rizky Fajar" userId="490a5c0ae4650a6d" providerId="LiveId" clId="{5666174E-1FDC-4381-AE72-96AAAE51F635}" dt="2025-02-18T11:29:24.038" v="28126" actId="1035"/>
          <ac:grpSpMkLst>
            <pc:docMk/>
            <pc:sldMk cId="1728683986" sldId="4082"/>
            <ac:grpSpMk id="337" creationId="{FE81F0EE-6C0D-A0E2-97CA-C54D9F989ACB}"/>
          </ac:grpSpMkLst>
        </pc:grpChg>
        <pc:grpChg chg="add mod">
          <ac:chgData name="Rizky Fajar" userId="490a5c0ae4650a6d" providerId="LiveId" clId="{5666174E-1FDC-4381-AE72-96AAAE51F635}" dt="2025-02-18T11:08:48.606" v="27604" actId="164"/>
          <ac:grpSpMkLst>
            <pc:docMk/>
            <pc:sldMk cId="1728683986" sldId="4082"/>
            <ac:grpSpMk id="338" creationId="{BD0DD624-8207-D114-AE75-AD3476B3E01C}"/>
          </ac:grpSpMkLst>
        </pc:grpChg>
        <pc:grpChg chg="add mod">
          <ac:chgData name="Rizky Fajar" userId="490a5c0ae4650a6d" providerId="LiveId" clId="{5666174E-1FDC-4381-AE72-96AAAE51F635}" dt="2025-02-18T11:29:24.038" v="28126" actId="1035"/>
          <ac:grpSpMkLst>
            <pc:docMk/>
            <pc:sldMk cId="1728683986" sldId="4082"/>
            <ac:grpSpMk id="344" creationId="{F2AE99C9-37D7-5A68-6B46-E6C8C00E8381}"/>
          </ac:grpSpMkLst>
        </pc:grpChg>
        <pc:grpChg chg="add mod">
          <ac:chgData name="Rizky Fajar" userId="490a5c0ae4650a6d" providerId="LiveId" clId="{5666174E-1FDC-4381-AE72-96AAAE51F635}" dt="2025-02-18T11:29:28.710" v="28128" actId="14100"/>
          <ac:grpSpMkLst>
            <pc:docMk/>
            <pc:sldMk cId="1728683986" sldId="4082"/>
            <ac:grpSpMk id="382" creationId="{7C08FBED-71D2-8453-FC04-6E55C98E9714}"/>
          </ac:grpSpMkLst>
        </pc:grpChg>
        <pc:grpChg chg="add mod">
          <ac:chgData name="Rizky Fajar" userId="490a5c0ae4650a6d" providerId="LiveId" clId="{5666174E-1FDC-4381-AE72-96AAAE51F635}" dt="2025-02-18T11:33:00.695" v="28319" actId="164"/>
          <ac:grpSpMkLst>
            <pc:docMk/>
            <pc:sldMk cId="1728683986" sldId="4082"/>
            <ac:grpSpMk id="415" creationId="{76780B11-3C99-5DF0-AC44-D075358CC12F}"/>
          </ac:grpSpMkLst>
        </pc:grpChg>
        <pc:picChg chg="add mod">
          <ac:chgData name="Rizky Fajar" userId="490a5c0ae4650a6d" providerId="LiveId" clId="{5666174E-1FDC-4381-AE72-96AAAE51F635}" dt="2025-02-18T10:29:12.022" v="25618" actId="164"/>
          <ac:picMkLst>
            <pc:docMk/>
            <pc:sldMk cId="1728683986" sldId="4082"/>
            <ac:picMk id="55" creationId="{A105A082-E048-E43C-2300-835449E6E369}"/>
          </ac:picMkLst>
        </pc:picChg>
        <pc:picChg chg="add mod">
          <ac:chgData name="Rizky Fajar" userId="490a5c0ae4650a6d" providerId="LiveId" clId="{5666174E-1FDC-4381-AE72-96AAAE51F635}" dt="2025-02-18T10:29:39.345" v="25624" actId="164"/>
          <ac:picMkLst>
            <pc:docMk/>
            <pc:sldMk cId="1728683986" sldId="4082"/>
            <ac:picMk id="57" creationId="{A0595DB3-9FAD-F7AB-DF66-BDADE0B9489B}"/>
          </ac:picMkLst>
        </pc:picChg>
        <pc:picChg chg="add mod">
          <ac:chgData name="Rizky Fajar" userId="490a5c0ae4650a6d" providerId="LiveId" clId="{5666174E-1FDC-4381-AE72-96AAAE51F635}" dt="2025-02-18T10:29:34.158" v="25621" actId="164"/>
          <ac:picMkLst>
            <pc:docMk/>
            <pc:sldMk cId="1728683986" sldId="4082"/>
            <ac:picMk id="59" creationId="{64A3DEFE-0F85-5391-E323-1F82B11009A1}"/>
          </ac:picMkLst>
        </pc:picChg>
        <pc:picChg chg="add mod">
          <ac:chgData name="Rizky Fajar" userId="490a5c0ae4650a6d" providerId="LiveId" clId="{5666174E-1FDC-4381-AE72-96AAAE51F635}" dt="2025-02-18T10:29:30.611" v="25620" actId="164"/>
          <ac:picMkLst>
            <pc:docMk/>
            <pc:sldMk cId="1728683986" sldId="4082"/>
            <ac:picMk id="61" creationId="{89EB010B-415B-7908-9AC3-50127BF73348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56" creationId="{4B2B8557-FF3E-E88C-0A75-1F465754E339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58" creationId="{E437569E-95BD-B9BD-189B-72068B6D0113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60" creationId="{C905B20F-9AC0-B5C5-ABA1-A6A000F333F3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62" creationId="{E5F2FBB5-3532-BFC7-13B1-38358CCC0C35}"/>
          </ac:picMkLst>
        </pc:picChg>
        <pc:picChg chg="mod">
          <ac:chgData name="Rizky Fajar" userId="490a5c0ae4650a6d" providerId="LiveId" clId="{5666174E-1FDC-4381-AE72-96AAAE51F635}" dt="2025-02-18T10:35:30.303" v="25862" actId="571"/>
          <ac:picMkLst>
            <pc:docMk/>
            <pc:sldMk cId="1728683986" sldId="4082"/>
            <ac:picMk id="172" creationId="{035FE457-D4E2-5AF3-6005-0ADE69CDD33A}"/>
          </ac:picMkLst>
        </pc:picChg>
        <pc:picChg chg="mod">
          <ac:chgData name="Rizky Fajar" userId="490a5c0ae4650a6d" providerId="LiveId" clId="{5666174E-1FDC-4381-AE72-96AAAE51F635}" dt="2025-02-18T10:35:30.303" v="25862" actId="571"/>
          <ac:picMkLst>
            <pc:docMk/>
            <pc:sldMk cId="1728683986" sldId="4082"/>
            <ac:picMk id="176" creationId="{CDC7A446-F482-A694-7125-ADD1C3EEE708}"/>
          </ac:picMkLst>
        </pc:picChg>
        <pc:picChg chg="mod">
          <ac:chgData name="Rizky Fajar" userId="490a5c0ae4650a6d" providerId="LiveId" clId="{5666174E-1FDC-4381-AE72-96AAAE51F635}" dt="2025-02-18T10:35:30.303" v="25862" actId="571"/>
          <ac:picMkLst>
            <pc:docMk/>
            <pc:sldMk cId="1728683986" sldId="4082"/>
            <ac:picMk id="178" creationId="{6179327E-40A3-9139-5F5B-AF44564E5FAE}"/>
          </ac:picMkLst>
        </pc:picChg>
        <pc:picChg chg="mod">
          <ac:chgData name="Rizky Fajar" userId="490a5c0ae4650a6d" providerId="LiveId" clId="{5666174E-1FDC-4381-AE72-96AAAE51F635}" dt="2025-02-18T10:37:57.351" v="26007" actId="165"/>
          <ac:picMkLst>
            <pc:docMk/>
            <pc:sldMk cId="1728683986" sldId="4082"/>
            <ac:picMk id="188" creationId="{72EB8999-A41A-A0B5-C386-EBF40F258482}"/>
          </ac:picMkLst>
        </pc:picChg>
        <pc:picChg chg="mod">
          <ac:chgData name="Rizky Fajar" userId="490a5c0ae4650a6d" providerId="LiveId" clId="{5666174E-1FDC-4381-AE72-96AAAE51F635}" dt="2025-02-18T11:16:48.755" v="27737" actId="1076"/>
          <ac:picMkLst>
            <pc:docMk/>
            <pc:sldMk cId="1728683986" sldId="4082"/>
            <ac:picMk id="190" creationId="{AF9B596D-FE63-351A-8523-FCF69E834EAB}"/>
          </ac:picMkLst>
        </pc:picChg>
        <pc:picChg chg="mod">
          <ac:chgData name="Rizky Fajar" userId="490a5c0ae4650a6d" providerId="LiveId" clId="{5666174E-1FDC-4381-AE72-96AAAE51F635}" dt="2025-02-18T10:37:57.351" v="26007" actId="165"/>
          <ac:picMkLst>
            <pc:docMk/>
            <pc:sldMk cId="1728683986" sldId="4082"/>
            <ac:picMk id="192" creationId="{523F11CE-ACF8-8166-84AB-C60EE7EC6D4F}"/>
          </ac:picMkLst>
        </pc:picChg>
        <pc:picChg chg="mod">
          <ac:chgData name="Rizky Fajar" userId="490a5c0ae4650a6d" providerId="LiveId" clId="{5666174E-1FDC-4381-AE72-96AAAE51F635}" dt="2025-02-18T11:23:59.539" v="27927" actId="1076"/>
          <ac:picMkLst>
            <pc:docMk/>
            <pc:sldMk cId="1728683986" sldId="4082"/>
            <ac:picMk id="208" creationId="{5129DA9B-16B3-CC2C-CE8C-5FA66982E6E3}"/>
          </ac:picMkLst>
        </pc:picChg>
        <pc:picChg chg="mod">
          <ac:chgData name="Rizky Fajar" userId="490a5c0ae4650a6d" providerId="LiveId" clId="{5666174E-1FDC-4381-AE72-96AAAE51F635}" dt="2025-02-18T11:24:03.461" v="27928" actId="1076"/>
          <ac:picMkLst>
            <pc:docMk/>
            <pc:sldMk cId="1728683986" sldId="4082"/>
            <ac:picMk id="210" creationId="{0A0C38E4-04EF-6949-B1F7-6309324B48C6}"/>
          </ac:picMkLst>
        </pc:picChg>
        <pc:picChg chg="add mod topLvl">
          <ac:chgData name="Rizky Fajar" userId="490a5c0ae4650a6d" providerId="LiveId" clId="{5666174E-1FDC-4381-AE72-96AAAE51F635}" dt="2025-02-18T11:07:41.793" v="27557" actId="1076"/>
          <ac:picMkLst>
            <pc:docMk/>
            <pc:sldMk cId="1728683986" sldId="4082"/>
            <ac:picMk id="248" creationId="{13B3DA5B-4D21-C517-8E18-17B4B180518A}"/>
          </ac:picMkLst>
        </pc:picChg>
        <pc:picChg chg="mod ord topLvl">
          <ac:chgData name="Rizky Fajar" userId="490a5c0ae4650a6d" providerId="LiveId" clId="{5666174E-1FDC-4381-AE72-96AAAE51F635}" dt="2025-02-18T11:19:04.663" v="27783" actId="1038"/>
          <ac:picMkLst>
            <pc:docMk/>
            <pc:sldMk cId="1728683986" sldId="4082"/>
            <ac:picMk id="253" creationId="{D73D5281-F0DD-6C4E-BFCA-89EDFEDB6DD9}"/>
          </ac:picMkLst>
        </pc:picChg>
        <pc:picChg chg="add mod">
          <ac:chgData name="Rizky Fajar" userId="490a5c0ae4650a6d" providerId="LiveId" clId="{5666174E-1FDC-4381-AE72-96AAAE51F635}" dt="2025-02-18T11:12:22.556" v="27669" actId="1076"/>
          <ac:picMkLst>
            <pc:docMk/>
            <pc:sldMk cId="1728683986" sldId="4082"/>
            <ac:picMk id="263" creationId="{8D0B89D7-FA07-8AFB-7EC8-DEF1B4306781}"/>
          </ac:picMkLst>
        </pc:picChg>
        <pc:picChg chg="add mod">
          <ac:chgData name="Rizky Fajar" userId="490a5c0ae4650a6d" providerId="LiveId" clId="{5666174E-1FDC-4381-AE72-96AAAE51F635}" dt="2025-02-18T11:08:48.606" v="27604" actId="164"/>
          <ac:picMkLst>
            <pc:docMk/>
            <pc:sldMk cId="1728683986" sldId="4082"/>
            <ac:picMk id="343" creationId="{5051B477-A5EB-9D44-33EB-8DDD1701C9DC}"/>
          </ac:picMkLst>
        </pc:picChg>
        <pc:picChg chg="add mod ord topLvl">
          <ac:chgData name="Rizky Fajar" userId="490a5c0ae4650a6d" providerId="LiveId" clId="{5666174E-1FDC-4381-AE72-96AAAE51F635}" dt="2025-02-18T11:22:35.101" v="27860" actId="164"/>
          <ac:picMkLst>
            <pc:docMk/>
            <pc:sldMk cId="1728683986" sldId="4082"/>
            <ac:picMk id="373" creationId="{57B3C538-B953-F714-F6E6-7FE6F84B53C2}"/>
          </ac:picMkLst>
        </pc:picChg>
        <pc:picChg chg="add mod">
          <ac:chgData name="Rizky Fajar" userId="490a5c0ae4650a6d" providerId="LiveId" clId="{5666174E-1FDC-4381-AE72-96AAAE51F635}" dt="2025-02-18T11:28:48.867" v="28109" actId="1076"/>
          <ac:picMkLst>
            <pc:docMk/>
            <pc:sldMk cId="1728683986" sldId="4082"/>
            <ac:picMk id="386" creationId="{FE8496CD-26C1-6023-9092-C9944C28E0B0}"/>
          </ac:picMkLst>
        </pc:picChg>
        <pc:picChg chg="add mod">
          <ac:chgData name="Rizky Fajar" userId="490a5c0ae4650a6d" providerId="LiveId" clId="{5666174E-1FDC-4381-AE72-96AAAE51F635}" dt="2025-02-18T11:28:48.867" v="28109" actId="1076"/>
          <ac:picMkLst>
            <pc:docMk/>
            <pc:sldMk cId="1728683986" sldId="4082"/>
            <ac:picMk id="387" creationId="{1486789F-2665-988C-C0DF-CFC40F7C710E}"/>
          </ac:picMkLst>
        </pc:picChg>
        <pc:picChg chg="add mod">
          <ac:chgData name="Rizky Fajar" userId="490a5c0ae4650a6d" providerId="LiveId" clId="{5666174E-1FDC-4381-AE72-96AAAE51F635}" dt="2025-02-18T11:28:48.867" v="28109" actId="1076"/>
          <ac:picMkLst>
            <pc:docMk/>
            <pc:sldMk cId="1728683986" sldId="4082"/>
            <ac:picMk id="388" creationId="{81F76AD3-A0D0-12FA-E3F7-FD2FE64CC3DA}"/>
          </ac:picMkLst>
        </pc:picChg>
        <pc:picChg chg="add mod">
          <ac:chgData name="Rizky Fajar" userId="490a5c0ae4650a6d" providerId="LiveId" clId="{5666174E-1FDC-4381-AE72-96AAAE51F635}" dt="2025-02-18T13:01:55.148" v="28671" actId="1076"/>
          <ac:picMkLst>
            <pc:docMk/>
            <pc:sldMk cId="1728683986" sldId="4082"/>
            <ac:picMk id="416" creationId="{5E9603AF-3308-EF07-1741-701E08444E01}"/>
          </ac:picMkLst>
        </pc:picChg>
        <pc:cxnChg chg="add mod">
          <ac:chgData name="Rizky Fajar" userId="490a5c0ae4650a6d" providerId="LiveId" clId="{5666174E-1FDC-4381-AE72-96AAAE51F635}" dt="2025-02-18T11:25:46.469" v="28051" actId="14100"/>
          <ac:cxnSpMkLst>
            <pc:docMk/>
            <pc:sldMk cId="1728683986" sldId="4082"/>
            <ac:cxnSpMk id="18" creationId="{15625BD3-EBDD-703B-7031-00FD57B8FF9E}"/>
          </ac:cxnSpMkLst>
        </pc:cxnChg>
        <pc:cxnChg chg="add mod">
          <ac:chgData name="Rizky Fajar" userId="490a5c0ae4650a6d" providerId="LiveId" clId="{5666174E-1FDC-4381-AE72-96AAAE51F635}" dt="2025-02-18T11:19:49.726" v="27787" actId="14100"/>
          <ac:cxnSpMkLst>
            <pc:docMk/>
            <pc:sldMk cId="1728683986" sldId="4082"/>
            <ac:cxnSpMk id="220" creationId="{B4DDF229-FBDA-ECCF-6AC3-3F5AFD48A2FE}"/>
          </ac:cxnSpMkLst>
        </pc:cxnChg>
        <pc:cxnChg chg="add mod">
          <ac:chgData name="Rizky Fajar" userId="490a5c0ae4650a6d" providerId="LiveId" clId="{5666174E-1FDC-4381-AE72-96AAAE51F635}" dt="2025-02-18T11:19:49.726" v="27787" actId="14100"/>
          <ac:cxnSpMkLst>
            <pc:docMk/>
            <pc:sldMk cId="1728683986" sldId="4082"/>
            <ac:cxnSpMk id="223" creationId="{A2D5C59F-C873-88E2-376B-4C5BC229FEC8}"/>
          </ac:cxnSpMkLst>
        </pc:cxnChg>
        <pc:cxnChg chg="add mod">
          <ac:chgData name="Rizky Fajar" userId="490a5c0ae4650a6d" providerId="LiveId" clId="{5666174E-1FDC-4381-AE72-96AAAE51F635}" dt="2025-02-18T11:03:46.816" v="27465" actId="1037"/>
          <ac:cxnSpMkLst>
            <pc:docMk/>
            <pc:sldMk cId="1728683986" sldId="4082"/>
            <ac:cxnSpMk id="227" creationId="{6F435C16-7D39-5B46-10A4-9D1ACBD44128}"/>
          </ac:cxnSpMkLst>
        </pc:cxnChg>
        <pc:cxnChg chg="add mod">
          <ac:chgData name="Rizky Fajar" userId="490a5c0ae4650a6d" providerId="LiveId" clId="{5666174E-1FDC-4381-AE72-96AAAE51F635}" dt="2025-02-18T11:03:46.816" v="27465" actId="1037"/>
          <ac:cxnSpMkLst>
            <pc:docMk/>
            <pc:sldMk cId="1728683986" sldId="4082"/>
            <ac:cxnSpMk id="231" creationId="{E37CE65F-EFBF-C7D1-006F-A3834D5436CE}"/>
          </ac:cxnSpMkLst>
        </pc:cxnChg>
        <pc:cxnChg chg="add mod">
          <ac:chgData name="Rizky Fajar" userId="490a5c0ae4650a6d" providerId="LiveId" clId="{5666174E-1FDC-4381-AE72-96AAAE51F635}" dt="2025-02-18T11:29:24.038" v="28126" actId="1035"/>
          <ac:cxnSpMkLst>
            <pc:docMk/>
            <pc:sldMk cId="1728683986" sldId="4082"/>
            <ac:cxnSpMk id="242" creationId="{8FB384FA-982E-8847-52D1-DA88947520A4}"/>
          </ac:cxnSpMkLst>
        </pc:cxnChg>
        <pc:cxnChg chg="add mod">
          <ac:chgData name="Rizky Fajar" userId="490a5c0ae4650a6d" providerId="LiveId" clId="{5666174E-1FDC-4381-AE72-96AAAE51F635}" dt="2025-02-18T11:29:24.038" v="28126" actId="1035"/>
          <ac:cxnSpMkLst>
            <pc:docMk/>
            <pc:sldMk cId="1728683986" sldId="4082"/>
            <ac:cxnSpMk id="266" creationId="{FDB021AD-D33E-4DF6-5E07-D5532843F7C5}"/>
          </ac:cxnSpMkLst>
        </pc:cxnChg>
        <pc:cxnChg chg="add mod">
          <ac:chgData name="Rizky Fajar" userId="490a5c0ae4650a6d" providerId="LiveId" clId="{5666174E-1FDC-4381-AE72-96AAAE51F635}" dt="2025-02-18T11:29:24.038" v="28126" actId="1035"/>
          <ac:cxnSpMkLst>
            <pc:docMk/>
            <pc:sldMk cId="1728683986" sldId="4082"/>
            <ac:cxnSpMk id="270" creationId="{B20F0C4C-1099-02D2-1FC6-20C7686B6A5B}"/>
          </ac:cxnSpMkLst>
        </pc:cxnChg>
        <pc:cxnChg chg="add mod">
          <ac:chgData name="Rizky Fajar" userId="490a5c0ae4650a6d" providerId="LiveId" clId="{5666174E-1FDC-4381-AE72-96AAAE51F635}" dt="2025-02-18T11:05:56.442" v="27520" actId="478"/>
          <ac:cxnSpMkLst>
            <pc:docMk/>
            <pc:sldMk cId="1728683986" sldId="4082"/>
            <ac:cxnSpMk id="279" creationId="{F3C09AA3-8565-3E7A-720E-55D3000D5985}"/>
          </ac:cxnSpMkLst>
        </pc:cxnChg>
        <pc:cxnChg chg="add mod">
          <ac:chgData name="Rizky Fajar" userId="490a5c0ae4650a6d" providerId="LiveId" clId="{5666174E-1FDC-4381-AE72-96AAAE51F635}" dt="2025-02-18T11:29:32.023" v="28129" actId="14100"/>
          <ac:cxnSpMkLst>
            <pc:docMk/>
            <pc:sldMk cId="1728683986" sldId="4082"/>
            <ac:cxnSpMk id="304" creationId="{635171EC-9EEA-FF07-6D93-B555AB1224DC}"/>
          </ac:cxnSpMkLst>
        </pc:cxnChg>
        <pc:cxnChg chg="add mod">
          <ac:chgData name="Rizky Fajar" userId="490a5c0ae4650a6d" providerId="LiveId" clId="{5666174E-1FDC-4381-AE72-96AAAE51F635}" dt="2025-02-18T11:29:32.023" v="28129" actId="14100"/>
          <ac:cxnSpMkLst>
            <pc:docMk/>
            <pc:sldMk cId="1728683986" sldId="4082"/>
            <ac:cxnSpMk id="352" creationId="{392680B5-5267-9201-F2EC-B2810A0F9F14}"/>
          </ac:cxnSpMkLst>
        </pc:cxnChg>
        <pc:cxnChg chg="add mod ord topLvl">
          <ac:chgData name="Rizky Fajar" userId="490a5c0ae4650a6d" providerId="LiveId" clId="{5666174E-1FDC-4381-AE72-96AAAE51F635}" dt="2025-02-18T11:33:00.695" v="28319" actId="164"/>
          <ac:cxnSpMkLst>
            <pc:docMk/>
            <pc:sldMk cId="1728683986" sldId="4082"/>
            <ac:cxnSpMk id="401" creationId="{4B5DA84D-01A0-5061-1DD3-11106251BB1F}"/>
          </ac:cxnSpMkLst>
        </pc:cxnChg>
        <pc:cxnChg chg="add mod topLvl">
          <ac:chgData name="Rizky Fajar" userId="490a5c0ae4650a6d" providerId="LiveId" clId="{5666174E-1FDC-4381-AE72-96AAAE51F635}" dt="2025-02-18T11:33:00.695" v="28319" actId="164"/>
          <ac:cxnSpMkLst>
            <pc:docMk/>
            <pc:sldMk cId="1728683986" sldId="4082"/>
            <ac:cxnSpMk id="408" creationId="{FEE74313-80FA-1642-5944-872979B91C25}"/>
          </ac:cxnSpMkLst>
        </pc:cxnChg>
      </pc:sldChg>
      <pc:sldChg chg="add del">
        <pc:chgData name="Rizky Fajar" userId="490a5c0ae4650a6d" providerId="LiveId" clId="{5666174E-1FDC-4381-AE72-96AAAE51F635}" dt="2025-02-18T06:03:17.424" v="21600" actId="47"/>
        <pc:sldMkLst>
          <pc:docMk/>
          <pc:sldMk cId="4171017924" sldId="4082"/>
        </pc:sldMkLst>
      </pc:sldChg>
      <pc:sldChg chg="addSp delSp modSp add mod">
        <pc:chgData name="Rizky Fajar" userId="490a5c0ae4650a6d" providerId="LiveId" clId="{5666174E-1FDC-4381-AE72-96AAAE51F635}" dt="2025-02-19T13:27:59.939" v="32237"/>
        <pc:sldMkLst>
          <pc:docMk/>
          <pc:sldMk cId="3289195861" sldId="4083"/>
        </pc:sldMkLst>
        <pc:spChg chg="add del mod">
          <ac:chgData name="Rizky Fajar" userId="490a5c0ae4650a6d" providerId="LiveId" clId="{5666174E-1FDC-4381-AE72-96AAAE51F635}" dt="2025-02-18T14:12:41.852" v="30808" actId="207"/>
          <ac:spMkLst>
            <pc:docMk/>
            <pc:sldMk cId="3289195861" sldId="4083"/>
            <ac:spMk id="7" creationId="{33010AA8-8179-B6B1-1950-837EF4021628}"/>
          </ac:spMkLst>
        </pc:spChg>
        <pc:spChg chg="add mod">
          <ac:chgData name="Rizky Fajar" userId="490a5c0ae4650a6d" providerId="LiveId" clId="{5666174E-1FDC-4381-AE72-96AAAE51F635}" dt="2025-02-18T14:20:13.804" v="30984" actId="1038"/>
          <ac:spMkLst>
            <pc:docMk/>
            <pc:sldMk cId="3289195861" sldId="4083"/>
            <ac:spMk id="10" creationId="{34946A2C-988F-526C-F753-98B03DDC89E8}"/>
          </ac:spMkLst>
        </pc:spChg>
        <pc:spChg chg="mod">
          <ac:chgData name="Rizky Fajar" userId="490a5c0ae4650a6d" providerId="LiveId" clId="{5666174E-1FDC-4381-AE72-96AAAE51F635}" dt="2025-02-18T14:12:35.960" v="30806" actId="1076"/>
          <ac:spMkLst>
            <pc:docMk/>
            <pc:sldMk cId="3289195861" sldId="4083"/>
            <ac:spMk id="13" creationId="{6CB54423-23CD-FA58-671C-D3DF15EA2D26}"/>
          </ac:spMkLst>
        </pc:spChg>
        <pc:spChg chg="mod">
          <ac:chgData name="Rizky Fajar" userId="490a5c0ae4650a6d" providerId="LiveId" clId="{5666174E-1FDC-4381-AE72-96AAAE51F635}" dt="2025-02-19T13:27:59.939" v="32237"/>
          <ac:spMkLst>
            <pc:docMk/>
            <pc:sldMk cId="3289195861" sldId="4083"/>
            <ac:spMk id="15" creationId="{0837712E-605F-80F6-D73E-BF3F7A4C1EB0}"/>
          </ac:spMkLst>
        </pc:spChg>
        <pc:spChg chg="add mod">
          <ac:chgData name="Rizky Fajar" userId="490a5c0ae4650a6d" providerId="LiveId" clId="{5666174E-1FDC-4381-AE72-96AAAE51F635}" dt="2025-02-18T13:58:34.192" v="30459" actId="1076"/>
          <ac:spMkLst>
            <pc:docMk/>
            <pc:sldMk cId="3289195861" sldId="4083"/>
            <ac:spMk id="16" creationId="{888B5031-5FC0-CFB7-DEEF-5A32B3313F5C}"/>
          </ac:spMkLst>
        </pc:spChg>
        <pc:spChg chg="mod">
          <ac:chgData name="Rizky Fajar" userId="490a5c0ae4650a6d" providerId="LiveId" clId="{5666174E-1FDC-4381-AE72-96AAAE51F635}" dt="2025-02-19T13:27:59.939" v="32237"/>
          <ac:spMkLst>
            <pc:docMk/>
            <pc:sldMk cId="3289195861" sldId="4083"/>
            <ac:spMk id="17" creationId="{214BFF07-21CE-7725-737F-FEE257919E20}"/>
          </ac:spMkLst>
        </pc:spChg>
        <pc:spChg chg="add mod">
          <ac:chgData name="Rizky Fajar" userId="490a5c0ae4650a6d" providerId="LiveId" clId="{5666174E-1FDC-4381-AE72-96AAAE51F635}" dt="2025-02-18T13:43:16.232" v="29984" actId="1076"/>
          <ac:spMkLst>
            <pc:docMk/>
            <pc:sldMk cId="3289195861" sldId="4083"/>
            <ac:spMk id="20" creationId="{876F7107-3474-BE8E-A89C-5934EC19E359}"/>
          </ac:spMkLst>
        </pc:spChg>
        <pc:spChg chg="add mod">
          <ac:chgData name="Rizky Fajar" userId="490a5c0ae4650a6d" providerId="LiveId" clId="{5666174E-1FDC-4381-AE72-96AAAE51F635}" dt="2025-02-18T14:22:57.513" v="31026" actId="14100"/>
          <ac:spMkLst>
            <pc:docMk/>
            <pc:sldMk cId="3289195861" sldId="4083"/>
            <ac:spMk id="22" creationId="{9E06E5D3-FD6C-537C-87FE-38473D7D8D55}"/>
          </ac:spMkLst>
        </pc:spChg>
        <pc:spChg chg="add mod">
          <ac:chgData name="Rizky Fajar" userId="490a5c0ae4650a6d" providerId="LiveId" clId="{5666174E-1FDC-4381-AE72-96AAAE51F635}" dt="2025-02-18T13:39:22.028" v="29894" actId="12789"/>
          <ac:spMkLst>
            <pc:docMk/>
            <pc:sldMk cId="3289195861" sldId="4083"/>
            <ac:spMk id="27" creationId="{45018BA9-D91B-C753-22CA-1C33DB39D610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0" creationId="{0C77FD9A-83E8-2B44-4378-DABF2B0AFA55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1" creationId="{0DEAEDBE-B7CC-DAA3-9B41-5D1D7542E200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2" creationId="{5EA3D951-B983-A2C7-DF6C-15C625CC57EA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3" creationId="{51900460-6533-DB53-6726-F07B36029BD8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4" creationId="{83250563-4C5C-0E05-E82D-E3E39C5EAD4B}"/>
          </ac:spMkLst>
        </pc:spChg>
        <pc:spChg chg="add mod">
          <ac:chgData name="Rizky Fajar" userId="490a5c0ae4650a6d" providerId="LiveId" clId="{5666174E-1FDC-4381-AE72-96AAAE51F635}" dt="2025-02-18T14:17:49.836" v="30895" actId="113"/>
          <ac:spMkLst>
            <pc:docMk/>
            <pc:sldMk cId="3289195861" sldId="4083"/>
            <ac:spMk id="52" creationId="{3C8C04AE-07EC-9460-D110-1BC216CB163E}"/>
          </ac:spMkLst>
        </pc:spChg>
        <pc:spChg chg="add mod">
          <ac:chgData name="Rizky Fajar" userId="490a5c0ae4650a6d" providerId="LiveId" clId="{5666174E-1FDC-4381-AE72-96AAAE51F635}" dt="2025-02-18T13:35:02.475" v="29756" actId="164"/>
          <ac:spMkLst>
            <pc:docMk/>
            <pc:sldMk cId="3289195861" sldId="4083"/>
            <ac:spMk id="111" creationId="{15A950CE-52A5-CE6B-462D-5E8EDCB602C9}"/>
          </ac:spMkLst>
        </pc:spChg>
        <pc:spChg chg="mod">
          <ac:chgData name="Rizky Fajar" userId="490a5c0ae4650a6d" providerId="LiveId" clId="{5666174E-1FDC-4381-AE72-96AAAE51F635}" dt="2025-02-18T13:40:43.096" v="29931" actId="207"/>
          <ac:spMkLst>
            <pc:docMk/>
            <pc:sldMk cId="3289195861" sldId="4083"/>
            <ac:spMk id="122" creationId="{B4813C56-F6A9-2450-41DB-2D4018AD4BCB}"/>
          </ac:spMkLst>
        </pc:spChg>
        <pc:spChg chg="add del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125" creationId="{F1D1F616-BD10-E956-A0CC-B0641F6DAA9D}"/>
          </ac:spMkLst>
        </pc:spChg>
        <pc:spChg chg="add mod ord">
          <ac:chgData name="Rizky Fajar" userId="490a5c0ae4650a6d" providerId="LiveId" clId="{5666174E-1FDC-4381-AE72-96AAAE51F635}" dt="2025-02-18T14:02:37.416" v="30530" actId="1038"/>
          <ac:spMkLst>
            <pc:docMk/>
            <pc:sldMk cId="3289195861" sldId="4083"/>
            <ac:spMk id="136" creationId="{9547FD53-E368-9C1E-B871-5B4FE4DAEEFD}"/>
          </ac:spMkLst>
        </pc:spChg>
        <pc:spChg chg="add mod or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147" creationId="{4F51CE94-7E80-5B76-E0B5-FC78857F1DC3}"/>
          </ac:spMkLst>
        </pc:spChg>
        <pc:spChg chg="add mod or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233" creationId="{1B0641BE-D672-92D8-2995-9B7864013DC4}"/>
          </ac:spMkLst>
        </pc:spChg>
        <pc:spChg chg="add mod">
          <ac:chgData name="Rizky Fajar" userId="490a5c0ae4650a6d" providerId="LiveId" clId="{5666174E-1FDC-4381-AE72-96AAAE51F635}" dt="2025-02-18T13:47:35.297" v="30058" actId="1076"/>
          <ac:spMkLst>
            <pc:docMk/>
            <pc:sldMk cId="3289195861" sldId="4083"/>
            <ac:spMk id="247" creationId="{F8115464-2DB6-19B5-CA71-C8B31804FCC4}"/>
          </ac:spMkLst>
        </pc:spChg>
        <pc:spChg chg="add mod">
          <ac:chgData name="Rizky Fajar" userId="490a5c0ae4650a6d" providerId="LiveId" clId="{5666174E-1FDC-4381-AE72-96AAAE51F635}" dt="2025-02-18T13:51:45.645" v="30136" actId="1076"/>
          <ac:spMkLst>
            <pc:docMk/>
            <pc:sldMk cId="3289195861" sldId="4083"/>
            <ac:spMk id="283" creationId="{8A4445BE-B777-7DEF-39BF-ECEE7969A725}"/>
          </ac:spMkLst>
        </pc:spChg>
        <pc:spChg chg="add mod">
          <ac:chgData name="Rizky Fajar" userId="490a5c0ae4650a6d" providerId="LiveId" clId="{5666174E-1FDC-4381-AE72-96AAAE51F635}" dt="2025-02-18T13:52:52.442" v="30206" actId="113"/>
          <ac:spMkLst>
            <pc:docMk/>
            <pc:sldMk cId="3289195861" sldId="4083"/>
            <ac:spMk id="291" creationId="{DFA8EDCA-876D-59E5-98C1-9ABAA9C532BF}"/>
          </ac:spMkLst>
        </pc:spChg>
        <pc:spChg chg="add mod">
          <ac:chgData name="Rizky Fajar" userId="490a5c0ae4650a6d" providerId="LiveId" clId="{5666174E-1FDC-4381-AE72-96AAAE51F635}" dt="2025-02-18T13:51:54.176" v="30144" actId="20577"/>
          <ac:spMkLst>
            <pc:docMk/>
            <pc:sldMk cId="3289195861" sldId="4083"/>
            <ac:spMk id="294" creationId="{2F36B534-D31D-D8C2-A3A0-1794609385C0}"/>
          </ac:spMkLst>
        </pc:spChg>
        <pc:spChg chg="add mod">
          <ac:chgData name="Rizky Fajar" userId="490a5c0ae4650a6d" providerId="LiveId" clId="{5666174E-1FDC-4381-AE72-96AAAE51F635}" dt="2025-02-18T13:55:10.166" v="30306" actId="12789"/>
          <ac:spMkLst>
            <pc:docMk/>
            <pc:sldMk cId="3289195861" sldId="4083"/>
            <ac:spMk id="295" creationId="{3322E5B4-4F36-BADB-BC32-E57015AA04DE}"/>
          </ac:spMkLst>
        </pc:spChg>
        <pc:spChg chg="add mod">
          <ac:chgData name="Rizky Fajar" userId="490a5c0ae4650a6d" providerId="LiveId" clId="{5666174E-1FDC-4381-AE72-96AAAE51F635}" dt="2025-02-18T14:09:04.337" v="30691" actId="12"/>
          <ac:spMkLst>
            <pc:docMk/>
            <pc:sldMk cId="3289195861" sldId="4083"/>
            <ac:spMk id="296" creationId="{23301AEC-34F8-EC65-649B-1D2C4EEBB445}"/>
          </ac:spMkLst>
        </pc:spChg>
        <pc:spChg chg="add mod">
          <ac:chgData name="Rizky Fajar" userId="490a5c0ae4650a6d" providerId="LiveId" clId="{5666174E-1FDC-4381-AE72-96AAAE51F635}" dt="2025-02-18T13:55:57.740" v="30362" actId="14100"/>
          <ac:spMkLst>
            <pc:docMk/>
            <pc:sldMk cId="3289195861" sldId="4083"/>
            <ac:spMk id="314" creationId="{FA5FF300-9B86-DAE8-434B-811B5CB40235}"/>
          </ac:spMkLst>
        </pc:spChg>
        <pc:spChg chg="add mod">
          <ac:chgData name="Rizky Fajar" userId="490a5c0ae4650a6d" providerId="LiveId" clId="{5666174E-1FDC-4381-AE72-96AAAE51F635}" dt="2025-02-18T13:56:40.039" v="30391" actId="20577"/>
          <ac:spMkLst>
            <pc:docMk/>
            <pc:sldMk cId="3289195861" sldId="4083"/>
            <ac:spMk id="322" creationId="{038B8C04-CE86-C2D7-3D18-885CBF9994E5}"/>
          </ac:spMkLst>
        </pc:spChg>
        <pc:spChg chg="add mod ord">
          <ac:chgData name="Rizky Fajar" userId="490a5c0ae4650a6d" providerId="LiveId" clId="{5666174E-1FDC-4381-AE72-96AAAE51F635}" dt="2025-02-18T13:59:14.082" v="30478" actId="166"/>
          <ac:spMkLst>
            <pc:docMk/>
            <pc:sldMk cId="3289195861" sldId="4083"/>
            <ac:spMk id="323" creationId="{60CA1572-B05B-788F-FA95-8B1BE3DABD57}"/>
          </ac:spMkLst>
        </pc:spChg>
        <pc:spChg chg="mod">
          <ac:chgData name="Rizky Fajar" userId="490a5c0ae4650a6d" providerId="LiveId" clId="{5666174E-1FDC-4381-AE72-96AAAE51F635}" dt="2025-02-18T13:56:56.601" v="30394" actId="571"/>
          <ac:spMkLst>
            <pc:docMk/>
            <pc:sldMk cId="3289195861" sldId="4083"/>
            <ac:spMk id="325" creationId="{FC0233C3-3CA2-0EAC-78F5-F410BBC423EC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27" creationId="{8906A03E-314B-C16C-4A1B-D038A841E792}"/>
          </ac:spMkLst>
        </pc:spChg>
        <pc:spChg chg="add mod">
          <ac:chgData name="Rizky Fajar" userId="490a5c0ae4650a6d" providerId="LiveId" clId="{5666174E-1FDC-4381-AE72-96AAAE51F635}" dt="2025-02-18T14:05:45.495" v="30690" actId="20577"/>
          <ac:spMkLst>
            <pc:docMk/>
            <pc:sldMk cId="3289195861" sldId="4083"/>
            <ac:spMk id="342" creationId="{CA8D3F8A-2D59-A26A-4B20-51C49A032DF7}"/>
          </ac:spMkLst>
        </pc:spChg>
        <pc:spChg chg="add mod ord">
          <ac:chgData name="Rizky Fajar" userId="490a5c0ae4650a6d" providerId="LiveId" clId="{5666174E-1FDC-4381-AE72-96AAAE51F635}" dt="2025-02-18T13:59:40.957" v="30490" actId="1076"/>
          <ac:spMkLst>
            <pc:docMk/>
            <pc:sldMk cId="3289195861" sldId="4083"/>
            <ac:spMk id="362" creationId="{3175C921-CFD9-152B-676C-40763B1D888D}"/>
          </ac:spMkLst>
        </pc:spChg>
        <pc:spChg chg="add mod">
          <ac:chgData name="Rizky Fajar" userId="490a5c0ae4650a6d" providerId="LiveId" clId="{5666174E-1FDC-4381-AE72-96AAAE51F635}" dt="2025-02-18T14:20:51.210" v="30992" actId="207"/>
          <ac:spMkLst>
            <pc:docMk/>
            <pc:sldMk cId="3289195861" sldId="4083"/>
            <ac:spMk id="394" creationId="{A7783251-632E-3F42-FF38-0BCBEE707FD7}"/>
          </ac:spMkLst>
        </pc:spChg>
        <pc:spChg chg="add mod">
          <ac:chgData name="Rizky Fajar" userId="490a5c0ae4650a6d" providerId="LiveId" clId="{5666174E-1FDC-4381-AE72-96AAAE51F635}" dt="2025-02-18T14:20:50.595" v="30991" actId="207"/>
          <ac:spMkLst>
            <pc:docMk/>
            <pc:sldMk cId="3289195861" sldId="4083"/>
            <ac:spMk id="395" creationId="{9C19EE1F-F0F9-4C39-44A2-4A73D9F4B2CF}"/>
          </ac:spMkLst>
        </pc:spChg>
        <pc:spChg chg="mod">
          <ac:chgData name="Rizky Fajar" userId="490a5c0ae4650a6d" providerId="LiveId" clId="{5666174E-1FDC-4381-AE72-96AAAE51F635}" dt="2025-02-18T14:20:58.912" v="30995" actId="207"/>
          <ac:spMkLst>
            <pc:docMk/>
            <pc:sldMk cId="3289195861" sldId="4083"/>
            <ac:spMk id="398" creationId="{0DFBA8C2-5236-C460-8E14-395655C2F9BF}"/>
          </ac:spMkLst>
        </pc:spChg>
        <pc:spChg chg="add mod">
          <ac:chgData name="Rizky Fajar" userId="490a5c0ae4650a6d" providerId="LiveId" clId="{5666174E-1FDC-4381-AE72-96AAAE51F635}" dt="2025-02-18T14:20:53.694" v="30993" actId="207"/>
          <ac:spMkLst>
            <pc:docMk/>
            <pc:sldMk cId="3289195861" sldId="4083"/>
            <ac:spMk id="400" creationId="{091E7E36-1637-952F-2D56-A86577DC2788}"/>
          </ac:spMkLst>
        </pc:spChg>
        <pc:spChg chg="add mod">
          <ac:chgData name="Rizky Fajar" userId="490a5c0ae4650a6d" providerId="LiveId" clId="{5666174E-1FDC-4381-AE72-96AAAE51F635}" dt="2025-02-18T14:20:56.069" v="30994" actId="207"/>
          <ac:spMkLst>
            <pc:docMk/>
            <pc:sldMk cId="3289195861" sldId="4083"/>
            <ac:spMk id="402" creationId="{8A1A50DC-3B01-911F-0894-7B07AB4F0BA0}"/>
          </ac:spMkLst>
        </pc:spChg>
        <pc:spChg chg="add mod">
          <ac:chgData name="Rizky Fajar" userId="490a5c0ae4650a6d" providerId="LiveId" clId="{5666174E-1FDC-4381-AE72-96AAAE51F635}" dt="2025-02-18T14:22:29.335" v="31020" actId="1076"/>
          <ac:spMkLst>
            <pc:docMk/>
            <pc:sldMk cId="3289195861" sldId="4083"/>
            <ac:spMk id="403" creationId="{63E5112D-B7CF-EE64-86DA-B6AA9AB910CD}"/>
          </ac:spMkLst>
        </pc:spChg>
        <pc:spChg chg="add mod">
          <ac:chgData name="Rizky Fajar" userId="490a5c0ae4650a6d" providerId="LiveId" clId="{5666174E-1FDC-4381-AE72-96AAAE51F635}" dt="2025-02-18T14:23:15.179" v="31028" actId="1076"/>
          <ac:spMkLst>
            <pc:docMk/>
            <pc:sldMk cId="3289195861" sldId="4083"/>
            <ac:spMk id="409" creationId="{5593DEC4-A216-D5DD-6C46-1E47C98C7928}"/>
          </ac:spMkLst>
        </pc:spChg>
        <pc:spChg chg="add mod">
          <ac:chgData name="Rizky Fajar" userId="490a5c0ae4650a6d" providerId="LiveId" clId="{5666174E-1FDC-4381-AE72-96AAAE51F635}" dt="2025-02-18T14:18:24.647" v="30924" actId="1076"/>
          <ac:spMkLst>
            <pc:docMk/>
            <pc:sldMk cId="3289195861" sldId="4083"/>
            <ac:spMk id="410" creationId="{0310C3D8-F5BA-D5CB-6B37-F9AD0A8B759D}"/>
          </ac:spMkLst>
        </pc:spChg>
        <pc:spChg chg="add mod">
          <ac:chgData name="Rizky Fajar" userId="490a5c0ae4650a6d" providerId="LiveId" clId="{5666174E-1FDC-4381-AE72-96AAAE51F635}" dt="2025-02-18T14:21:01.617" v="30996" actId="207"/>
          <ac:spMkLst>
            <pc:docMk/>
            <pc:sldMk cId="3289195861" sldId="4083"/>
            <ac:spMk id="419" creationId="{43F5FA3A-D291-16F9-4F58-FDF3B7591E33}"/>
          </ac:spMkLst>
        </pc:spChg>
        <pc:spChg chg="add mod">
          <ac:chgData name="Rizky Fajar" userId="490a5c0ae4650a6d" providerId="LiveId" clId="{5666174E-1FDC-4381-AE72-96AAAE51F635}" dt="2025-02-18T14:21:49.633" v="31007" actId="1076"/>
          <ac:spMkLst>
            <pc:docMk/>
            <pc:sldMk cId="3289195861" sldId="4083"/>
            <ac:spMk id="420" creationId="{86A6C5EF-8C2D-E190-2ACB-D5C03622186E}"/>
          </ac:spMkLst>
        </pc:spChg>
        <pc:grpChg chg="add mod">
          <ac:chgData name="Rizky Fajar" userId="490a5c0ae4650a6d" providerId="LiveId" clId="{5666174E-1FDC-4381-AE72-96AAAE51F635}" dt="2025-02-19T13:27:59.939" v="32237"/>
          <ac:grpSpMkLst>
            <pc:docMk/>
            <pc:sldMk cId="3289195861" sldId="4083"/>
            <ac:grpSpMk id="14" creationId="{FB5A946C-A73F-F0FD-6D23-0A3A83E80ED5}"/>
          </ac:grpSpMkLst>
        </pc:grpChg>
        <pc:grpChg chg="add mod">
          <ac:chgData name="Rizky Fajar" userId="490a5c0ae4650a6d" providerId="LiveId" clId="{5666174E-1FDC-4381-AE72-96AAAE51F635}" dt="2025-02-18T13:47:55.719" v="30060" actId="12788"/>
          <ac:grpSpMkLst>
            <pc:docMk/>
            <pc:sldMk cId="3289195861" sldId="4083"/>
            <ac:grpSpMk id="120" creationId="{D29BDED1-11F1-B9FB-FEED-8A926E8721B9}"/>
          </ac:grpSpMkLst>
        </pc:grpChg>
        <pc:grpChg chg="add mod">
          <ac:chgData name="Rizky Fajar" userId="490a5c0ae4650a6d" providerId="LiveId" clId="{5666174E-1FDC-4381-AE72-96AAAE51F635}" dt="2025-02-18T13:47:55.719" v="30060" actId="12788"/>
          <ac:grpSpMkLst>
            <pc:docMk/>
            <pc:sldMk cId="3289195861" sldId="4083"/>
            <ac:grpSpMk id="121" creationId="{3B53F9EF-7BDA-26B4-5D74-54259105849D}"/>
          </ac:grpSpMkLst>
        </pc:grpChg>
        <pc:grpChg chg="add mod">
          <ac:chgData name="Rizky Fajar" userId="490a5c0ae4650a6d" providerId="LiveId" clId="{5666174E-1FDC-4381-AE72-96AAAE51F635}" dt="2025-02-18T13:59:25.926" v="30484" actId="1076"/>
          <ac:grpSpMkLst>
            <pc:docMk/>
            <pc:sldMk cId="3289195861" sldId="4083"/>
            <ac:grpSpMk id="324" creationId="{1C7540A5-2CA0-0DDB-59B5-A22B5E1DD824}"/>
          </ac:grpSpMkLst>
        </pc:grpChg>
        <pc:grpChg chg="add mod">
          <ac:chgData name="Rizky Fajar" userId="490a5c0ae4650a6d" providerId="LiveId" clId="{5666174E-1FDC-4381-AE72-96AAAE51F635}" dt="2025-02-18T14:05:25.057" v="30684" actId="164"/>
          <ac:grpSpMkLst>
            <pc:docMk/>
            <pc:sldMk cId="3289195861" sldId="4083"/>
            <ac:grpSpMk id="397" creationId="{88B24242-9153-7714-6E91-B79926754F1B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04" creationId="{1E3AE3E0-13D7-2105-A97B-FA4A7DD6111B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05" creationId="{19C60C10-C1B0-17D4-F737-5A609B5209A9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07" creationId="{F7B4B039-CE63-B5C3-861A-B62142680416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21" creationId="{FFC6DBB2-9847-7ACE-0C41-656DBE7000F2}"/>
          </ac:grpSpMkLst>
        </pc:grpChg>
        <pc:picChg chg="add mod">
          <ac:chgData name="Rizky Fajar" userId="490a5c0ae4650a6d" providerId="LiveId" clId="{5666174E-1FDC-4381-AE72-96AAAE51F635}" dt="2025-02-18T13:35:02.475" v="29756" actId="164"/>
          <ac:picMkLst>
            <pc:docMk/>
            <pc:sldMk cId="3289195861" sldId="4083"/>
            <ac:picMk id="118" creationId="{09A5F303-F35E-1F8C-4032-84865A89DA30}"/>
          </ac:picMkLst>
        </pc:picChg>
        <pc:picChg chg="mod">
          <ac:chgData name="Rizky Fajar" userId="490a5c0ae4650a6d" providerId="LiveId" clId="{5666174E-1FDC-4381-AE72-96AAAE51F635}" dt="2025-02-18T13:40:43.096" v="29931" actId="207"/>
          <ac:picMkLst>
            <pc:docMk/>
            <pc:sldMk cId="3289195861" sldId="4083"/>
            <ac:picMk id="123" creationId="{C45B9182-D4DD-D452-F137-0B6B8E9750A5}"/>
          </ac:picMkLst>
        </pc:picChg>
        <pc:picChg chg="mod">
          <ac:chgData name="Rizky Fajar" userId="490a5c0ae4650a6d" providerId="LiveId" clId="{5666174E-1FDC-4381-AE72-96AAAE51F635}" dt="2025-02-18T13:56:56.601" v="30394" actId="571"/>
          <ac:picMkLst>
            <pc:docMk/>
            <pc:sldMk cId="3289195861" sldId="4083"/>
            <ac:picMk id="326" creationId="{5D661FE8-56D2-EE58-F240-BADCAAD68BE2}"/>
          </ac:picMkLst>
        </pc:picChg>
        <pc:picChg chg="mod">
          <ac:chgData name="Rizky Fajar" userId="490a5c0ae4650a6d" providerId="LiveId" clId="{5666174E-1FDC-4381-AE72-96AAAE51F635}" dt="2025-02-18T14:03:19.447" v="30546"/>
          <ac:picMkLst>
            <pc:docMk/>
            <pc:sldMk cId="3289195861" sldId="4083"/>
            <ac:picMk id="399" creationId="{631D1DA7-EC5C-5577-A710-62F7A599C24B}"/>
          </ac:picMkLst>
        </pc:picChg>
        <pc:cxnChg chg="add mod">
          <ac:chgData name="Rizky Fajar" userId="490a5c0ae4650a6d" providerId="LiveId" clId="{5666174E-1FDC-4381-AE72-96AAAE51F635}" dt="2025-02-18T13:43:36.639" v="29991" actId="1076"/>
          <ac:cxnSpMkLst>
            <pc:docMk/>
            <pc:sldMk cId="3289195861" sldId="4083"/>
            <ac:cxnSpMk id="25" creationId="{A1E91B85-3112-6862-5AEB-5B0B2C6FF32F}"/>
          </ac:cxnSpMkLst>
        </pc:cxnChg>
        <pc:cxnChg chg="add mod">
          <ac:chgData name="Rizky Fajar" userId="490a5c0ae4650a6d" providerId="LiveId" clId="{5666174E-1FDC-4381-AE72-96AAAE51F635}" dt="2025-02-18T13:39:22.028" v="29894" actId="12789"/>
          <ac:cxnSpMkLst>
            <pc:docMk/>
            <pc:sldMk cId="3289195861" sldId="4083"/>
            <ac:cxnSpMk id="38" creationId="{06E6F617-01D3-C7A2-F7C4-4903D80ABB78}"/>
          </ac:cxnSpMkLst>
        </pc:cxnChg>
        <pc:cxnChg chg="add mod">
          <ac:chgData name="Rizky Fajar" userId="490a5c0ae4650a6d" providerId="LiveId" clId="{5666174E-1FDC-4381-AE72-96AAAE51F635}" dt="2025-02-18T14:00:11.348" v="30500" actId="14100"/>
          <ac:cxnSpMkLst>
            <pc:docMk/>
            <pc:sldMk cId="3289195861" sldId="4083"/>
            <ac:cxnSpMk id="39" creationId="{AA235574-ECC7-6720-944D-AF4730FBEAA3}"/>
          </ac:cxnSpMkLst>
        </pc:cxnChg>
        <pc:cxnChg chg="add mod">
          <ac:chgData name="Rizky Fajar" userId="490a5c0ae4650a6d" providerId="LiveId" clId="{5666174E-1FDC-4381-AE72-96AAAE51F635}" dt="2025-02-18T13:42:01.864" v="29955" actId="12789"/>
          <ac:cxnSpMkLst>
            <pc:docMk/>
            <pc:sldMk cId="3289195861" sldId="4083"/>
            <ac:cxnSpMk id="42" creationId="{75969BFC-B480-C44D-00B2-C4EA66C00AF2}"/>
          </ac:cxnSpMkLst>
        </pc:cxnChg>
        <pc:cxnChg chg="add mod">
          <ac:chgData name="Rizky Fajar" userId="490a5c0ae4650a6d" providerId="LiveId" clId="{5666174E-1FDC-4381-AE72-96AAAE51F635}" dt="2025-02-18T13:57:30.023" v="30410" actId="1035"/>
          <ac:cxnSpMkLst>
            <pc:docMk/>
            <pc:sldMk cId="3289195861" sldId="4083"/>
            <ac:cxnSpMk id="46" creationId="{8626AC69-0149-B0EF-83B4-AB92E11F3CC3}"/>
          </ac:cxnSpMkLst>
        </pc:cxnChg>
        <pc:cxnChg chg="add mod">
          <ac:chgData name="Rizky Fajar" userId="490a5c0ae4650a6d" providerId="LiveId" clId="{5666174E-1FDC-4381-AE72-96AAAE51F635}" dt="2025-02-18T13:57:27.054" v="30403" actId="1076"/>
          <ac:cxnSpMkLst>
            <pc:docMk/>
            <pc:sldMk cId="3289195861" sldId="4083"/>
            <ac:cxnSpMk id="49" creationId="{47FD1A2B-9D26-CC96-BEA0-BF108CE5C908}"/>
          </ac:cxnSpMkLst>
        </pc:cxnChg>
        <pc:cxnChg chg="add mod">
          <ac:chgData name="Rizky Fajar" userId="490a5c0ae4650a6d" providerId="LiveId" clId="{5666174E-1FDC-4381-AE72-96AAAE51F635}" dt="2025-02-18T14:02:29.479" v="30519" actId="1076"/>
          <ac:cxnSpMkLst>
            <pc:docMk/>
            <pc:sldMk cId="3289195861" sldId="4083"/>
            <ac:cxnSpMk id="53" creationId="{4097A99F-2E04-620C-4263-33411AABC868}"/>
          </ac:cxnSpMkLst>
        </pc:cxnChg>
        <pc:cxnChg chg="add mod">
          <ac:chgData name="Rizky Fajar" userId="490a5c0ae4650a6d" providerId="LiveId" clId="{5666174E-1FDC-4381-AE72-96AAAE51F635}" dt="2025-02-18T13:58:34.192" v="30459" actId="1076"/>
          <ac:cxnSpMkLst>
            <pc:docMk/>
            <pc:sldMk cId="3289195861" sldId="4083"/>
            <ac:cxnSpMk id="143" creationId="{F527D760-0457-C5A5-7EF5-255EF266F5A2}"/>
          </ac:cxnSpMkLst>
        </pc:cxnChg>
        <pc:cxnChg chg="add mod">
          <ac:chgData name="Rizky Fajar" userId="490a5c0ae4650a6d" providerId="LiveId" clId="{5666174E-1FDC-4381-AE72-96AAAE51F635}" dt="2025-02-18T13:43:33.545" v="29990" actId="14100"/>
          <ac:cxnSpMkLst>
            <pc:docMk/>
            <pc:sldMk cId="3289195861" sldId="4083"/>
            <ac:cxnSpMk id="146" creationId="{95854B2A-D2B1-CF6C-9780-C5410A9CC423}"/>
          </ac:cxnSpMkLst>
        </pc:cxnChg>
        <pc:cxnChg chg="add mod">
          <ac:chgData name="Rizky Fajar" userId="490a5c0ae4650a6d" providerId="LiveId" clId="{5666174E-1FDC-4381-AE72-96AAAE51F635}" dt="2025-02-18T13:59:48.176" v="30492" actId="14100"/>
          <ac:cxnSpMkLst>
            <pc:docMk/>
            <pc:sldMk cId="3289195861" sldId="4083"/>
            <ac:cxnSpMk id="181" creationId="{F871B599-9A2C-E634-1876-61D4049D2AB2}"/>
          </ac:cxnSpMkLst>
        </pc:cxnChg>
        <pc:cxnChg chg="add mod">
          <ac:chgData name="Rizky Fajar" userId="490a5c0ae4650a6d" providerId="LiveId" clId="{5666174E-1FDC-4381-AE72-96AAAE51F635}" dt="2025-02-18T13:59:56.989" v="30495" actId="14100"/>
          <ac:cxnSpMkLst>
            <pc:docMk/>
            <pc:sldMk cId="3289195861" sldId="4083"/>
            <ac:cxnSpMk id="205" creationId="{C317E4A3-5B2D-8BAF-ACFD-24759EEAC56A}"/>
          </ac:cxnSpMkLst>
        </pc:cxnChg>
        <pc:cxnChg chg="add mod">
          <ac:chgData name="Rizky Fajar" userId="490a5c0ae4650a6d" providerId="LiveId" clId="{5666174E-1FDC-4381-AE72-96AAAE51F635}" dt="2025-02-18T14:00:16.504" v="30502" actId="14100"/>
          <ac:cxnSpMkLst>
            <pc:docMk/>
            <pc:sldMk cId="3289195861" sldId="4083"/>
            <ac:cxnSpMk id="284" creationId="{13DEE064-212C-02FF-A85C-5E2F795C2D03}"/>
          </ac:cxnSpMkLst>
        </pc:cxnChg>
        <pc:cxnChg chg="add mod">
          <ac:chgData name="Rizky Fajar" userId="490a5c0ae4650a6d" providerId="LiveId" clId="{5666174E-1FDC-4381-AE72-96AAAE51F635}" dt="2025-02-18T13:53:40.781" v="30236" actId="14100"/>
          <ac:cxnSpMkLst>
            <pc:docMk/>
            <pc:sldMk cId="3289195861" sldId="4083"/>
            <ac:cxnSpMk id="297" creationId="{FF6D7D66-4104-8AAA-CE0E-A502F35DE90D}"/>
          </ac:cxnSpMkLst>
        </pc:cxnChg>
        <pc:cxnChg chg="add mod">
          <ac:chgData name="Rizky Fajar" userId="490a5c0ae4650a6d" providerId="LiveId" clId="{5666174E-1FDC-4381-AE72-96AAAE51F635}" dt="2025-02-18T13:53:44.125" v="30239" actId="14100"/>
          <ac:cxnSpMkLst>
            <pc:docMk/>
            <pc:sldMk cId="3289195861" sldId="4083"/>
            <ac:cxnSpMk id="300" creationId="{8328AC82-88D6-8F88-A6E7-54A22BF1D557}"/>
          </ac:cxnSpMkLst>
        </pc:cxnChg>
        <pc:cxnChg chg="add mod">
          <ac:chgData name="Rizky Fajar" userId="490a5c0ae4650a6d" providerId="LiveId" clId="{5666174E-1FDC-4381-AE72-96AAAE51F635}" dt="2025-02-18T13:53:48.344" v="30243" actId="1076"/>
          <ac:cxnSpMkLst>
            <pc:docMk/>
            <pc:sldMk cId="3289195861" sldId="4083"/>
            <ac:cxnSpMk id="303" creationId="{BBCCDD63-6F2E-CE8B-80A6-0760E7547CF6}"/>
          </ac:cxnSpMkLst>
        </pc:cxnChg>
        <pc:cxnChg chg="add mod">
          <ac:chgData name="Rizky Fajar" userId="490a5c0ae4650a6d" providerId="LiveId" clId="{5666174E-1FDC-4381-AE72-96AAAE51F635}" dt="2025-02-18T13:55:10.166" v="30306" actId="12789"/>
          <ac:cxnSpMkLst>
            <pc:docMk/>
            <pc:sldMk cId="3289195861" sldId="4083"/>
            <ac:cxnSpMk id="307" creationId="{B8D11767-AF67-3D47-5B33-DB11334FE2B7}"/>
          </ac:cxnSpMkLst>
        </pc:cxnChg>
        <pc:cxnChg chg="add mod">
          <ac:chgData name="Rizky Fajar" userId="490a5c0ae4650a6d" providerId="LiveId" clId="{5666174E-1FDC-4381-AE72-96AAAE51F635}" dt="2025-02-18T13:55:57.740" v="30362" actId="14100"/>
          <ac:cxnSpMkLst>
            <pc:docMk/>
            <pc:sldMk cId="3289195861" sldId="4083"/>
            <ac:cxnSpMk id="310" creationId="{1F341167-61CB-F07E-0303-C93A21A104B5}"/>
          </ac:cxnSpMkLst>
        </pc:cxnChg>
        <pc:cxnChg chg="add mod">
          <ac:chgData name="Rizky Fajar" userId="490a5c0ae4650a6d" providerId="LiveId" clId="{5666174E-1FDC-4381-AE72-96AAAE51F635}" dt="2025-02-18T13:57:30.023" v="30410" actId="1035"/>
          <ac:cxnSpMkLst>
            <pc:docMk/>
            <pc:sldMk cId="3289195861" sldId="4083"/>
            <ac:cxnSpMk id="329" creationId="{F136E7D1-EC8C-DC08-AC0A-B77B1B05A0CF}"/>
          </ac:cxnSpMkLst>
        </pc:cxnChg>
        <pc:cxnChg chg="add mod">
          <ac:chgData name="Rizky Fajar" userId="490a5c0ae4650a6d" providerId="LiveId" clId="{5666174E-1FDC-4381-AE72-96AAAE51F635}" dt="2025-02-18T14:18:24.647" v="30924" actId="1076"/>
          <ac:cxnSpMkLst>
            <pc:docMk/>
            <pc:sldMk cId="3289195861" sldId="4083"/>
            <ac:cxnSpMk id="346" creationId="{799A120D-2BCA-7B3C-44F8-A4DA142FF409}"/>
          </ac:cxnSpMkLst>
        </pc:cxnChg>
        <pc:cxnChg chg="add mod">
          <ac:chgData name="Rizky Fajar" userId="490a5c0ae4650a6d" providerId="LiveId" clId="{5666174E-1FDC-4381-AE72-96AAAE51F635}" dt="2025-02-18T13:58:54.207" v="30467" actId="14100"/>
          <ac:cxnSpMkLst>
            <pc:docMk/>
            <pc:sldMk cId="3289195861" sldId="4083"/>
            <ac:cxnSpMk id="350" creationId="{1E486C03-E061-657A-5E4B-2A8FF6642BC2}"/>
          </ac:cxnSpMkLst>
        </pc:cxnChg>
        <pc:cxnChg chg="add mod">
          <ac:chgData name="Rizky Fajar" userId="490a5c0ae4650a6d" providerId="LiveId" clId="{5666174E-1FDC-4381-AE72-96AAAE51F635}" dt="2025-02-18T14:18:24.647" v="30924" actId="1076"/>
          <ac:cxnSpMkLst>
            <pc:docMk/>
            <pc:sldMk cId="3289195861" sldId="4083"/>
            <ac:cxnSpMk id="354" creationId="{2A450642-1B53-35E8-A305-69409B8A126E}"/>
          </ac:cxnSpMkLst>
        </pc:cxnChg>
        <pc:cxnChg chg="add mod">
          <ac:chgData name="Rizky Fajar" userId="490a5c0ae4650a6d" providerId="LiveId" clId="{5666174E-1FDC-4381-AE72-96AAAE51F635}" dt="2025-02-18T13:59:35.723" v="30488" actId="14100"/>
          <ac:cxnSpMkLst>
            <pc:docMk/>
            <pc:sldMk cId="3289195861" sldId="4083"/>
            <ac:cxnSpMk id="363" creationId="{ED18DB69-E6CC-B57F-DAC8-BD6F016A2326}"/>
          </ac:cxnSpMkLst>
        </pc:cxnChg>
        <pc:cxnChg chg="add mod">
          <ac:chgData name="Rizky Fajar" userId="490a5c0ae4650a6d" providerId="LiveId" clId="{5666174E-1FDC-4381-AE72-96AAAE51F635}" dt="2025-02-18T14:01:10.616" v="30510" actId="208"/>
          <ac:cxnSpMkLst>
            <pc:docMk/>
            <pc:sldMk cId="3289195861" sldId="4083"/>
            <ac:cxnSpMk id="376" creationId="{8E2C16B2-5725-8D79-B766-D603419D0ABF}"/>
          </ac:cxnSpMkLst>
        </pc:cxnChg>
        <pc:cxnChg chg="add mod">
          <ac:chgData name="Rizky Fajar" userId="490a5c0ae4650a6d" providerId="LiveId" clId="{5666174E-1FDC-4381-AE72-96AAAE51F635}" dt="2025-02-18T14:02:37.416" v="30530" actId="1038"/>
          <ac:cxnSpMkLst>
            <pc:docMk/>
            <pc:sldMk cId="3289195861" sldId="4083"/>
            <ac:cxnSpMk id="378" creationId="{E27D0783-6827-2C10-80CA-FC134CF64156}"/>
          </ac:cxnSpMkLst>
        </pc:cxnChg>
      </pc:sldChg>
      <pc:sldChg chg="addSp delSp modSp mod">
        <pc:chgData name="Rizky Fajar" userId="490a5c0ae4650a6d" providerId="LiveId" clId="{5666174E-1FDC-4381-AE72-96AAAE51F635}" dt="2025-02-19T13:28:03.249" v="32239"/>
        <pc:sldMkLst>
          <pc:docMk/>
          <pc:sldMk cId="2591432972" sldId="4084"/>
        </pc:sldMkLst>
        <pc:spChg chg="mod">
          <ac:chgData name="Rizky Fajar" userId="490a5c0ae4650a6d" providerId="LiveId" clId="{5666174E-1FDC-4381-AE72-96AAAE51F635}" dt="2025-02-19T13:28:03.249" v="32239"/>
          <ac:spMkLst>
            <pc:docMk/>
            <pc:sldMk cId="2591432972" sldId="4084"/>
            <ac:spMk id="14" creationId="{3BDBB7D1-550F-122E-B47E-77D443830395}"/>
          </ac:spMkLst>
        </pc:spChg>
        <pc:spChg chg="mod">
          <ac:chgData name="Rizky Fajar" userId="490a5c0ae4650a6d" providerId="LiveId" clId="{5666174E-1FDC-4381-AE72-96AAAE51F635}" dt="2025-02-19T13:28:03.249" v="32239"/>
          <ac:spMkLst>
            <pc:docMk/>
            <pc:sldMk cId="2591432972" sldId="4084"/>
            <ac:spMk id="15" creationId="{BC447966-5589-C2A0-EE7C-A8CA15E9ACC8}"/>
          </ac:spMkLst>
        </pc:spChg>
        <pc:grpChg chg="add mod">
          <ac:chgData name="Rizky Fajar" userId="490a5c0ae4650a6d" providerId="LiveId" clId="{5666174E-1FDC-4381-AE72-96AAAE51F635}" dt="2025-02-19T13:28:03.249" v="32239"/>
          <ac:grpSpMkLst>
            <pc:docMk/>
            <pc:sldMk cId="2591432972" sldId="4084"/>
            <ac:grpSpMk id="9" creationId="{986CA839-07BA-E1D0-0247-F12E24488154}"/>
          </ac:grpSpMkLst>
        </pc:grpChg>
      </pc:sldChg>
      <pc:sldChg chg="addSp delSp modSp mod">
        <pc:chgData name="Rizky Fajar" userId="490a5c0ae4650a6d" providerId="LiveId" clId="{5666174E-1FDC-4381-AE72-96AAAE51F635}" dt="2025-02-19T13:28:06.761" v="32241"/>
        <pc:sldMkLst>
          <pc:docMk/>
          <pc:sldMk cId="2802894260" sldId="4085"/>
        </pc:sldMkLst>
        <pc:spChg chg="mod">
          <ac:chgData name="Rizky Fajar" userId="490a5c0ae4650a6d" providerId="LiveId" clId="{5666174E-1FDC-4381-AE72-96AAAE51F635}" dt="2025-02-19T13:28:06.761" v="32241"/>
          <ac:spMkLst>
            <pc:docMk/>
            <pc:sldMk cId="2802894260" sldId="4085"/>
            <ac:spMk id="15" creationId="{CCFD6238-FCC4-5FD3-81B5-6155BEBA24AD}"/>
          </ac:spMkLst>
        </pc:spChg>
        <pc:spChg chg="mod">
          <ac:chgData name="Rizky Fajar" userId="490a5c0ae4650a6d" providerId="LiveId" clId="{5666174E-1FDC-4381-AE72-96AAAE51F635}" dt="2025-02-19T13:28:06.761" v="32241"/>
          <ac:spMkLst>
            <pc:docMk/>
            <pc:sldMk cId="2802894260" sldId="4085"/>
            <ac:spMk id="16" creationId="{2B6AD2AB-02B9-1C81-5FF7-054719018E51}"/>
          </ac:spMkLst>
        </pc:spChg>
        <pc:grpChg chg="add mod">
          <ac:chgData name="Rizky Fajar" userId="490a5c0ae4650a6d" providerId="LiveId" clId="{5666174E-1FDC-4381-AE72-96AAAE51F635}" dt="2025-02-19T13:28:06.761" v="32241"/>
          <ac:grpSpMkLst>
            <pc:docMk/>
            <pc:sldMk cId="2802894260" sldId="4085"/>
            <ac:grpSpMk id="14" creationId="{316E1BF6-4016-0051-FF76-27AB8EAD87B6}"/>
          </ac:grpSpMkLst>
        </pc:grpChg>
      </pc:sldChg>
      <pc:sldChg chg="delSp mod">
        <pc:chgData name="Rizky Fajar" userId="490a5c0ae4650a6d" providerId="LiveId" clId="{5666174E-1FDC-4381-AE72-96AAAE51F635}" dt="2025-02-19T13:38:45.672" v="32253" actId="478"/>
        <pc:sldMkLst>
          <pc:docMk/>
          <pc:sldMk cId="534624752" sldId="4087"/>
        </pc:sldMkLst>
      </pc:sldChg>
      <pc:sldChg chg="addSp delSp modSp mod">
        <pc:chgData name="Rizky Fajar" userId="490a5c0ae4650a6d" providerId="LiveId" clId="{5666174E-1FDC-4381-AE72-96AAAE51F635}" dt="2025-02-19T13:28:10.429" v="32243"/>
        <pc:sldMkLst>
          <pc:docMk/>
          <pc:sldMk cId="400687406" sldId="4088"/>
        </pc:sldMkLst>
        <pc:spChg chg="mod">
          <ac:chgData name="Rizky Fajar" userId="490a5c0ae4650a6d" providerId="LiveId" clId="{5666174E-1FDC-4381-AE72-96AAAE51F635}" dt="2025-02-19T13:28:10.429" v="32243"/>
          <ac:spMkLst>
            <pc:docMk/>
            <pc:sldMk cId="400687406" sldId="4088"/>
            <ac:spMk id="10" creationId="{BCE31267-DC7E-6B00-6FCE-B88201C8D35B}"/>
          </ac:spMkLst>
        </pc:spChg>
        <pc:spChg chg="mod">
          <ac:chgData name="Rizky Fajar" userId="490a5c0ae4650a6d" providerId="LiveId" clId="{5666174E-1FDC-4381-AE72-96AAAE51F635}" dt="2025-02-19T13:28:10.429" v="32243"/>
          <ac:spMkLst>
            <pc:docMk/>
            <pc:sldMk cId="400687406" sldId="4088"/>
            <ac:spMk id="13" creationId="{9668C78B-FAFB-CDF1-FCA6-613094BCAC11}"/>
          </ac:spMkLst>
        </pc:spChg>
        <pc:grpChg chg="add mod">
          <ac:chgData name="Rizky Fajar" userId="490a5c0ae4650a6d" providerId="LiveId" clId="{5666174E-1FDC-4381-AE72-96AAAE51F635}" dt="2025-02-19T13:28:10.429" v="32243"/>
          <ac:grpSpMkLst>
            <pc:docMk/>
            <pc:sldMk cId="400687406" sldId="4088"/>
            <ac:grpSpMk id="9" creationId="{EE49FB32-6DAD-E13E-0739-1811BB32B711}"/>
          </ac:grpSpMkLst>
        </pc:grpChg>
      </pc:sldChg>
      <pc:sldChg chg="addSp delSp modSp mod">
        <pc:chgData name="Rizky Fajar" userId="490a5c0ae4650a6d" providerId="LiveId" clId="{5666174E-1FDC-4381-AE72-96AAAE51F635}" dt="2025-02-19T13:39:10.272" v="32257" actId="478"/>
        <pc:sldMkLst>
          <pc:docMk/>
          <pc:sldMk cId="724972836" sldId="4091"/>
        </pc:sldMkLst>
        <pc:spChg chg="mod">
          <ac:chgData name="Rizky Fajar" userId="490a5c0ae4650a6d" providerId="LiveId" clId="{5666174E-1FDC-4381-AE72-96AAAE51F635}" dt="2025-02-19T13:28:15.119" v="32245"/>
          <ac:spMkLst>
            <pc:docMk/>
            <pc:sldMk cId="724972836" sldId="4091"/>
            <ac:spMk id="9" creationId="{E2BF1377-40FA-7F85-A609-E1D2FF49ED90}"/>
          </ac:spMkLst>
        </pc:spChg>
        <pc:spChg chg="mod">
          <ac:chgData name="Rizky Fajar" userId="490a5c0ae4650a6d" providerId="LiveId" clId="{5666174E-1FDC-4381-AE72-96AAAE51F635}" dt="2025-02-19T13:28:15.119" v="32245"/>
          <ac:spMkLst>
            <pc:docMk/>
            <pc:sldMk cId="724972836" sldId="4091"/>
            <ac:spMk id="13" creationId="{B0AB1C4D-F1B7-0C88-E2CE-F829889344C8}"/>
          </ac:spMkLst>
        </pc:spChg>
        <pc:grpChg chg="add mod">
          <ac:chgData name="Rizky Fajar" userId="490a5c0ae4650a6d" providerId="LiveId" clId="{5666174E-1FDC-4381-AE72-96AAAE51F635}" dt="2025-02-19T13:28:15.119" v="32245"/>
          <ac:grpSpMkLst>
            <pc:docMk/>
            <pc:sldMk cId="724972836" sldId="4091"/>
            <ac:grpSpMk id="7" creationId="{96FBD4F3-2FD4-CE79-A49F-AF4730D9B0A2}"/>
          </ac:grpSpMkLst>
        </pc:grpChg>
      </pc:sldChg>
      <pc:sldChg chg="addSp delSp modSp mod">
        <pc:chgData name="Rizky Fajar" userId="490a5c0ae4650a6d" providerId="LiveId" clId="{5666174E-1FDC-4381-AE72-96AAAE51F635}" dt="2025-02-19T13:11:39.162" v="31330" actId="20577"/>
        <pc:sldMkLst>
          <pc:docMk/>
          <pc:sldMk cId="353997096" sldId="4092"/>
        </pc:sldMkLst>
        <pc:spChg chg="add 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7" creationId="{EDC8A691-5185-860F-84AA-0E44A4BFCA1C}"/>
          </ac:spMkLst>
        </pc:spChg>
        <pc:spChg chg="add 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9" creationId="{C8D4822C-DA18-64AD-461E-D26750095DA9}"/>
          </ac:spMkLst>
        </pc:spChg>
        <pc:spChg chg="add 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0" creationId="{A6A0AD0D-1608-FB00-3675-BDC71F988EDC}"/>
          </ac:spMkLst>
        </pc:spChg>
        <pc:spChg chg="mod">
          <ac:chgData name="Rizky Fajar" userId="490a5c0ae4650a6d" providerId="LiveId" clId="{5666174E-1FDC-4381-AE72-96AAAE51F635}" dt="2025-02-19T13:11:39.162" v="31330" actId="20577"/>
          <ac:spMkLst>
            <pc:docMk/>
            <pc:sldMk cId="353997096" sldId="4092"/>
            <ac:spMk id="13" creationId="{18B882B4-40C8-DC84-30B1-0A7A0054E19C}"/>
          </ac:spMkLst>
        </pc:spChg>
        <pc:spChg chg="mod">
          <ac:chgData name="Rizky Fajar" userId="490a5c0ae4650a6d" providerId="LiveId" clId="{5666174E-1FDC-4381-AE72-96AAAE51F635}" dt="2025-02-19T13:04:45.156" v="31242" actId="404"/>
          <ac:spMkLst>
            <pc:docMk/>
            <pc:sldMk cId="353997096" sldId="4092"/>
            <ac:spMk id="32" creationId="{ACFA400E-A31A-176F-350C-93F7604A2013}"/>
          </ac:spMkLst>
        </pc:spChg>
        <pc:spChg chg="mod">
          <ac:chgData name="Rizky Fajar" userId="490a5c0ae4650a6d" providerId="LiveId" clId="{5666174E-1FDC-4381-AE72-96AAAE51F635}" dt="2025-02-19T13:04:42.668" v="31241" actId="14100"/>
          <ac:spMkLst>
            <pc:docMk/>
            <pc:sldMk cId="353997096" sldId="4092"/>
            <ac:spMk id="33" creationId="{DC6BE6AB-BDAD-DB58-D2F7-2C04173BD5C5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38" creationId="{EC839E54-1169-A2B0-BF2C-5198383BB387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39" creationId="{EE7AE327-365D-F656-A780-7A19AFD7BEA1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49" creationId="{FF904918-DE88-91C2-0CCC-DD36D796F418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50" creationId="{E4CCF87E-9960-8BF1-5B59-746875408B16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51" creationId="{1F8B3CC8-9F33-961B-1C69-E6BF64C64F43}"/>
          </ac:spMkLst>
        </pc:spChg>
        <pc:spChg chg="mod">
          <ac:chgData name="Rizky Fajar" userId="490a5c0ae4650a6d" providerId="LiveId" clId="{5666174E-1FDC-4381-AE72-96AAAE51F635}" dt="2025-02-19T13:03:33.639" v="31208" actId="1076"/>
          <ac:spMkLst>
            <pc:docMk/>
            <pc:sldMk cId="353997096" sldId="4092"/>
            <ac:spMk id="52" creationId="{65776725-1D7E-6EB3-7DB6-487539FFE262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53" creationId="{095C78B3-940A-0CDF-7281-EADBC610A2B4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54" creationId="{295EAD86-0B44-E195-6D60-E7D1CD1ABCA3}"/>
          </ac:spMkLst>
        </pc:spChg>
        <pc:spChg chg="mod">
          <ac:chgData name="Rizky Fajar" userId="490a5c0ae4650a6d" providerId="LiveId" clId="{5666174E-1FDC-4381-AE72-96AAAE51F635}" dt="2025-02-19T13:05:21.329" v="31250"/>
          <ac:spMkLst>
            <pc:docMk/>
            <pc:sldMk cId="353997096" sldId="4092"/>
            <ac:spMk id="62" creationId="{0B54A72E-F099-9A6B-66CC-8AD7C3658B9C}"/>
          </ac:spMkLst>
        </pc:spChg>
        <pc:spChg chg="mod">
          <ac:chgData name="Rizky Fajar" userId="490a5c0ae4650a6d" providerId="LiveId" clId="{5666174E-1FDC-4381-AE72-96AAAE51F635}" dt="2025-02-19T13:05:21.329" v="31250"/>
          <ac:spMkLst>
            <pc:docMk/>
            <pc:sldMk cId="353997096" sldId="4092"/>
            <ac:spMk id="63" creationId="{FEB3FA2C-AB0D-3C72-731D-E27D861181A6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08" creationId="{9E1FD526-6B45-0659-CDA2-EAFF46F4F91D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09" creationId="{B663EA17-1339-3AF7-DB5A-952A6BC3247D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14" creationId="{D23F0354-1A43-3594-E072-78EF7EB44EC7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214" creationId="{D44F30F4-EFC9-7B0E-B2D5-E3027E5032CE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222" creationId="{A3E13DAA-563F-A157-15A0-101685CEE329}"/>
          </ac:spMkLst>
        </pc:spChg>
        <pc:spChg chg="mod topLvl">
          <ac:chgData name="Rizky Fajar" userId="490a5c0ae4650a6d" providerId="LiveId" clId="{5666174E-1FDC-4381-AE72-96AAAE51F635}" dt="2025-02-19T13:06:50.348" v="31270" actId="164"/>
          <ac:spMkLst>
            <pc:docMk/>
            <pc:sldMk cId="353997096" sldId="4092"/>
            <ac:spMk id="396" creationId="{C4463831-1B14-F925-133D-636448B97BE6}"/>
          </ac:spMkLst>
        </pc:spChg>
        <pc:spChg chg="mod topLvl">
          <ac:chgData name="Rizky Fajar" userId="490a5c0ae4650a6d" providerId="LiveId" clId="{5666174E-1FDC-4381-AE72-96AAAE51F635}" dt="2025-02-19T13:06:50.348" v="31270" actId="164"/>
          <ac:spMkLst>
            <pc:docMk/>
            <pc:sldMk cId="353997096" sldId="4092"/>
            <ac:spMk id="406" creationId="{EBD1F8CA-1954-29DD-9B36-599A06A69540}"/>
          </ac:spMkLst>
        </pc:spChg>
        <pc:spChg chg="mod topLvl">
          <ac:chgData name="Rizky Fajar" userId="490a5c0ae4650a6d" providerId="LiveId" clId="{5666174E-1FDC-4381-AE72-96AAAE51F635}" dt="2025-02-19T13:06:53.874" v="31271" actId="164"/>
          <ac:spMkLst>
            <pc:docMk/>
            <pc:sldMk cId="353997096" sldId="4092"/>
            <ac:spMk id="414" creationId="{B829226D-6DB3-618E-7C68-66A81D1AE5FC}"/>
          </ac:spMkLst>
        </pc:spChg>
        <pc:grpChg chg="add mod">
          <ac:chgData name="Rizky Fajar" userId="490a5c0ae4650a6d" providerId="LiveId" clId="{5666174E-1FDC-4381-AE72-96AAAE51F635}" dt="2025-02-19T13:04:56.024" v="31245" actId="164"/>
          <ac:grpSpMkLst>
            <pc:docMk/>
            <pc:sldMk cId="353997096" sldId="4092"/>
            <ac:grpSpMk id="19" creationId="{21D805A1-B88C-7A4B-74CB-424E2DE5A49E}"/>
          </ac:grpSpMkLst>
        </pc:grpChg>
        <pc:grpChg chg="add mod">
          <ac:chgData name="Rizky Fajar" userId="490a5c0ae4650a6d" providerId="LiveId" clId="{5666174E-1FDC-4381-AE72-96AAAE51F635}" dt="2025-02-19T13:06:10.502" v="31263" actId="1076"/>
          <ac:grpSpMkLst>
            <pc:docMk/>
            <pc:sldMk cId="353997096" sldId="4092"/>
            <ac:grpSpMk id="56" creationId="{138FD373-60EF-CD07-ADB2-43D745897D25}"/>
          </ac:grpSpMkLst>
        </pc:grpChg>
        <pc:grpChg chg="add mod">
          <ac:chgData name="Rizky Fajar" userId="490a5c0ae4650a6d" providerId="LiveId" clId="{5666174E-1FDC-4381-AE72-96AAAE51F635}" dt="2025-02-19T13:06:31.621" v="31268" actId="14100"/>
          <ac:grpSpMkLst>
            <pc:docMk/>
            <pc:sldMk cId="353997096" sldId="4092"/>
            <ac:grpSpMk id="61" creationId="{D7744B28-41A8-E944-A84C-5E57233CEF22}"/>
          </ac:grpSpMkLst>
        </pc:grpChg>
        <pc:grpChg chg="add mod">
          <ac:chgData name="Rizky Fajar" userId="490a5c0ae4650a6d" providerId="LiveId" clId="{5666174E-1FDC-4381-AE72-96AAAE51F635}" dt="2025-02-19T13:06:57.194" v="31272" actId="1076"/>
          <ac:grpSpMkLst>
            <pc:docMk/>
            <pc:sldMk cId="353997096" sldId="4092"/>
            <ac:grpSpMk id="72" creationId="{60F5D647-7803-D7B8-DE84-FEF942344A9D}"/>
          </ac:grpSpMkLst>
        </pc:grpChg>
        <pc:grpChg chg="add mod">
          <ac:chgData name="Rizky Fajar" userId="490a5c0ae4650a6d" providerId="LiveId" clId="{5666174E-1FDC-4381-AE72-96AAAE51F635}" dt="2025-02-19T13:07:26.996" v="31276" actId="1076"/>
          <ac:grpSpMkLst>
            <pc:docMk/>
            <pc:sldMk cId="353997096" sldId="4092"/>
            <ac:grpSpMk id="73" creationId="{E099CA32-5508-5E5F-09B5-222BCD2CF01B}"/>
          </ac:grpSpMkLst>
        </pc:grpChg>
        <pc:picChg chg="mod">
          <ac:chgData name="Rizky Fajar" userId="490a5c0ae4650a6d" providerId="LiveId" clId="{5666174E-1FDC-4381-AE72-96AAAE51F635}" dt="2025-02-19T13:01:08.866" v="31031" actId="1076"/>
          <ac:picMkLst>
            <pc:docMk/>
            <pc:sldMk cId="353997096" sldId="4092"/>
            <ac:picMk id="20" creationId="{6AFBF68F-9DEB-BE2D-0B4A-11ACCC6B4627}"/>
          </ac:picMkLst>
        </pc:picChg>
        <pc:picChg chg="add mod">
          <ac:chgData name="Rizky Fajar" userId="490a5c0ae4650a6d" providerId="LiveId" clId="{5666174E-1FDC-4381-AE72-96AAAE51F635}" dt="2025-02-19T13:04:56.024" v="31245" actId="164"/>
          <ac:picMkLst>
            <pc:docMk/>
            <pc:sldMk cId="353997096" sldId="4092"/>
            <ac:picMk id="55" creationId="{749A9B8B-511F-FFC0-C58E-BF5986D7001A}"/>
          </ac:picMkLst>
        </pc:picChg>
        <pc:picChg chg="mod">
          <ac:chgData name="Rizky Fajar" userId="490a5c0ae4650a6d" providerId="LiveId" clId="{5666174E-1FDC-4381-AE72-96AAAE51F635}" dt="2025-02-19T13:05:21.329" v="31250"/>
          <ac:picMkLst>
            <pc:docMk/>
            <pc:sldMk cId="353997096" sldId="4092"/>
            <ac:picMk id="64" creationId="{B713806D-0257-B073-4FC5-C053D1903E1A}"/>
          </ac:picMkLst>
        </pc:picChg>
        <pc:cxnChg chg="add mod">
          <ac:chgData name="Rizky Fajar" userId="490a5c0ae4650a6d" providerId="LiveId" clId="{5666174E-1FDC-4381-AE72-96AAAE51F635}" dt="2025-02-19T13:06:10.502" v="31263" actId="1076"/>
          <ac:cxnSpMkLst>
            <pc:docMk/>
            <pc:sldMk cId="353997096" sldId="4092"/>
            <ac:cxnSpMk id="57" creationId="{89705F5E-CDD9-5C02-9B6A-89B7FF73760E}"/>
          </ac:cxnSpMkLst>
        </pc:cxnChg>
        <pc:cxnChg chg="add mod">
          <ac:chgData name="Rizky Fajar" userId="490a5c0ae4650a6d" providerId="LiveId" clId="{5666174E-1FDC-4381-AE72-96AAAE51F635}" dt="2025-02-19T13:06:31.621" v="31268" actId="14100"/>
          <ac:cxnSpMkLst>
            <pc:docMk/>
            <pc:sldMk cId="353997096" sldId="4092"/>
            <ac:cxnSpMk id="66" creationId="{831C7D1A-8056-AFF4-4B42-D6EC124CDF5F}"/>
          </ac:cxnSpMkLst>
        </pc:cxnChg>
        <pc:cxnChg chg="mod">
          <ac:chgData name="Rizky Fajar" userId="490a5c0ae4650a6d" providerId="LiveId" clId="{5666174E-1FDC-4381-AE72-96AAAE51F635}" dt="2025-02-19T13:03:30.540" v="31205" actId="14100"/>
          <ac:cxnSpMkLst>
            <pc:docMk/>
            <pc:sldMk cId="353997096" sldId="4092"/>
            <ac:cxnSpMk id="95" creationId="{4FDF2640-0941-DF5E-25C3-E94BC3CF74B8}"/>
          </ac:cxnSpMkLst>
        </pc:cxnChg>
        <pc:cxnChg chg="mod">
          <ac:chgData name="Rizky Fajar" userId="490a5c0ae4650a6d" providerId="LiveId" clId="{5666174E-1FDC-4381-AE72-96AAAE51F635}" dt="2025-02-19T13:03:31.980" v="31206" actId="14100"/>
          <ac:cxnSpMkLst>
            <pc:docMk/>
            <pc:sldMk cId="353997096" sldId="4092"/>
            <ac:cxnSpMk id="99" creationId="{66481879-C0D1-ECE8-BE91-A4FC3C3B1DB2}"/>
          </ac:cxnSpMkLst>
        </pc:cxnChg>
        <pc:cxnChg chg="mod topLvl">
          <ac:chgData name="Rizky Fajar" userId="490a5c0ae4650a6d" providerId="LiveId" clId="{5666174E-1FDC-4381-AE72-96AAAE51F635}" dt="2025-02-19T13:06:50.348" v="31270" actId="164"/>
          <ac:cxnSpMkLst>
            <pc:docMk/>
            <pc:sldMk cId="353997096" sldId="4092"/>
            <ac:cxnSpMk id="401" creationId="{DEB36C97-EF29-AB7F-20A6-64B5EDBB0684}"/>
          </ac:cxnSpMkLst>
        </pc:cxnChg>
        <pc:cxnChg chg="mod topLvl">
          <ac:chgData name="Rizky Fajar" userId="490a5c0ae4650a6d" providerId="LiveId" clId="{5666174E-1FDC-4381-AE72-96AAAE51F635}" dt="2025-02-19T13:06:53.874" v="31271" actId="164"/>
          <ac:cxnSpMkLst>
            <pc:docMk/>
            <pc:sldMk cId="353997096" sldId="4092"/>
            <ac:cxnSpMk id="408" creationId="{0CF0535B-58EC-4C18-9FEA-C4E620E9258E}"/>
          </ac:cxnSpMkLst>
        </pc:cxnChg>
      </pc:sldChg>
      <pc:sldChg chg="addSp delSp modSp add mod">
        <pc:chgData name="Rizky Fajar" userId="490a5c0ae4650a6d" providerId="LiveId" clId="{5666174E-1FDC-4381-AE72-96AAAE51F635}" dt="2025-02-19T13:28:29.716" v="32249" actId="1076"/>
        <pc:sldMkLst>
          <pc:docMk/>
          <pc:sldMk cId="1068833788" sldId="4093"/>
        </pc:sldMkLst>
        <pc:spChg chg="mod">
          <ac:chgData name="Rizky Fajar" userId="490a5c0ae4650a6d" providerId="LiveId" clId="{5666174E-1FDC-4381-AE72-96AAAE51F635}" dt="2025-02-19T13:28:29.716" v="32249" actId="1076"/>
          <ac:spMkLst>
            <pc:docMk/>
            <pc:sldMk cId="1068833788" sldId="4093"/>
            <ac:spMk id="5" creationId="{64665A0B-19F2-A9C0-245B-57878D4B930B}"/>
          </ac:spMkLst>
        </pc:spChg>
        <pc:spChg chg="mod">
          <ac:chgData name="Rizky Fajar" userId="490a5c0ae4650a6d" providerId="LiveId" clId="{5666174E-1FDC-4381-AE72-96AAAE51F635}" dt="2025-02-19T13:28:24.183" v="32246" actId="20577"/>
          <ac:spMkLst>
            <pc:docMk/>
            <pc:sldMk cId="1068833788" sldId="4093"/>
            <ac:spMk id="6" creationId="{70CF4594-B490-6EF3-FF3E-544518846EAC}"/>
          </ac:spMkLst>
        </pc:spChg>
        <pc:spChg chg="add mod">
          <ac:chgData name="Rizky Fajar" userId="490a5c0ae4650a6d" providerId="LiveId" clId="{5666174E-1FDC-4381-AE72-96AAAE51F635}" dt="2025-02-19T13:17:36.936" v="31947" actId="113"/>
          <ac:spMkLst>
            <pc:docMk/>
            <pc:sldMk cId="1068833788" sldId="4093"/>
            <ac:spMk id="16" creationId="{A0D68FA9-A2B9-F579-FE73-DCEB785434B7}"/>
          </ac:spMkLst>
        </pc:spChg>
        <pc:spChg chg="mod">
          <ac:chgData name="Rizky Fajar" userId="490a5c0ae4650a6d" providerId="LiveId" clId="{5666174E-1FDC-4381-AE72-96AAAE51F635}" dt="2025-02-19T13:13:39.142" v="31351" actId="21"/>
          <ac:spMkLst>
            <pc:docMk/>
            <pc:sldMk cId="1068833788" sldId="4093"/>
            <ac:spMk id="17" creationId="{909CE2F5-68EC-498C-C47F-7526BCDC4D9C}"/>
          </ac:spMkLst>
        </pc:spChg>
        <pc:spChg chg="add mod">
          <ac:chgData name="Rizky Fajar" userId="490a5c0ae4650a6d" providerId="LiveId" clId="{5666174E-1FDC-4381-AE72-96AAAE51F635}" dt="2025-02-19T13:16:40.820" v="31752" actId="1076"/>
          <ac:spMkLst>
            <pc:docMk/>
            <pc:sldMk cId="1068833788" sldId="4093"/>
            <ac:spMk id="24" creationId="{28B90DDF-5983-768C-6F83-F57E091F5181}"/>
          </ac:spMkLst>
        </pc:spChg>
        <pc:spChg chg="add mod">
          <ac:chgData name="Rizky Fajar" userId="490a5c0ae4650a6d" providerId="LiveId" clId="{5666174E-1FDC-4381-AE72-96AAAE51F635}" dt="2025-02-19T13:18:20.570" v="31952" actId="1076"/>
          <ac:spMkLst>
            <pc:docMk/>
            <pc:sldMk cId="1068833788" sldId="4093"/>
            <ac:spMk id="25" creationId="{7D5BA6A2-5040-B1E9-1BA1-FECBADB3F3C1}"/>
          </ac:spMkLst>
        </pc:spChg>
        <pc:spChg chg="add mod">
          <ac:chgData name="Rizky Fajar" userId="490a5c0ae4650a6d" providerId="LiveId" clId="{5666174E-1FDC-4381-AE72-96AAAE51F635}" dt="2025-02-19T13:16:44.880" v="31754" actId="1076"/>
          <ac:spMkLst>
            <pc:docMk/>
            <pc:sldMk cId="1068833788" sldId="4093"/>
            <ac:spMk id="28" creationId="{E667F234-A381-0F12-27B8-19310F0D3435}"/>
          </ac:spMkLst>
        </pc:spChg>
        <pc:picChg chg="add mod">
          <ac:chgData name="Rizky Fajar" userId="490a5c0ae4650a6d" providerId="LiveId" clId="{5666174E-1FDC-4381-AE72-96AAAE51F635}" dt="2025-02-19T13:18:20.570" v="31952" actId="1076"/>
          <ac:picMkLst>
            <pc:docMk/>
            <pc:sldMk cId="1068833788" sldId="4093"/>
            <ac:picMk id="10" creationId="{2717EABF-CB05-75D1-769A-95B380642F60}"/>
          </ac:picMkLst>
        </pc:picChg>
        <pc:picChg chg="add mod">
          <ac:chgData name="Rizky Fajar" userId="490a5c0ae4650a6d" providerId="LiveId" clId="{5666174E-1FDC-4381-AE72-96AAAE51F635}" dt="2025-02-19T13:16:40.820" v="31752" actId="1076"/>
          <ac:picMkLst>
            <pc:docMk/>
            <pc:sldMk cId="1068833788" sldId="4093"/>
            <ac:picMk id="14" creationId="{4AFAAFAC-194B-4C25-1013-BBA2B0775A52}"/>
          </ac:picMkLst>
        </pc:picChg>
        <pc:picChg chg="add mod">
          <ac:chgData name="Rizky Fajar" userId="490a5c0ae4650a6d" providerId="LiveId" clId="{5666174E-1FDC-4381-AE72-96AAAE51F635}" dt="2025-02-19T13:16:44.880" v="31754" actId="1076"/>
          <ac:picMkLst>
            <pc:docMk/>
            <pc:sldMk cId="1068833788" sldId="4093"/>
            <ac:picMk id="27" creationId="{EEF82459-80E2-E354-F428-857D29AFC91A}"/>
          </ac:picMkLst>
        </pc:picChg>
        <pc:cxnChg chg="mod">
          <ac:chgData name="Rizky Fajar" userId="490a5c0ae4650a6d" providerId="LiveId" clId="{5666174E-1FDC-4381-AE72-96AAAE51F635}" dt="2025-02-19T13:16:23.399" v="31745" actId="1076"/>
          <ac:cxnSpMkLst>
            <pc:docMk/>
            <pc:sldMk cId="1068833788" sldId="4093"/>
            <ac:cxnSpMk id="18" creationId="{888E6AD4-FE5D-DA08-9DE5-DA4A58B561FA}"/>
          </ac:cxnSpMkLst>
        </pc:cxnChg>
      </pc:sldChg>
      <pc:sldChg chg="add del">
        <pc:chgData name="Rizky Fajar" userId="490a5c0ae4650a6d" providerId="LiveId" clId="{5666174E-1FDC-4381-AE72-96AAAE51F635}" dt="2025-02-19T13:11:56.406" v="31332" actId="47"/>
        <pc:sldMkLst>
          <pc:docMk/>
          <pc:sldMk cId="2891445408" sldId="4093"/>
        </pc:sldMkLst>
      </pc:sldChg>
      <pc:sldChg chg="add del">
        <pc:chgData name="Rizky Fajar" userId="490a5c0ae4650a6d" providerId="LiveId" clId="{5666174E-1FDC-4381-AE72-96AAAE51F635}" dt="2025-02-19T13:11:58.350" v="31333" actId="47"/>
        <pc:sldMkLst>
          <pc:docMk/>
          <pc:sldMk cId="1354507600" sldId="4094"/>
        </pc:sldMkLst>
      </pc:sldChg>
      <pc:sldChg chg="modSp add mod">
        <pc:chgData name="Rizky Fajar" userId="490a5c0ae4650a6d" providerId="LiveId" clId="{5666174E-1FDC-4381-AE72-96AAAE51F635}" dt="2025-02-19T13:21:35.164" v="32028" actId="20577"/>
        <pc:sldMkLst>
          <pc:docMk/>
          <pc:sldMk cId="3383049272" sldId="4094"/>
        </pc:sldMkLst>
        <pc:spChg chg="mod">
          <ac:chgData name="Rizky Fajar" userId="490a5c0ae4650a6d" providerId="LiveId" clId="{5666174E-1FDC-4381-AE72-96AAAE51F635}" dt="2025-02-19T13:21:35.164" v="32028" actId="20577"/>
          <ac:spMkLst>
            <pc:docMk/>
            <pc:sldMk cId="3383049272" sldId="4094"/>
            <ac:spMk id="5" creationId="{B076A201-88F6-8BB1-9040-7B51B2075C58}"/>
          </ac:spMkLst>
        </pc:spChg>
      </pc:sldChg>
    </pc:docChg>
  </pc:docChgLst>
  <pc:docChgLst>
    <pc:chgData name="Rizky Fajar" userId="490a5c0ae4650a6d" providerId="LiveId" clId="{D1CE0F0A-6BCF-46E5-A682-E2750EE6D310}"/>
    <pc:docChg chg="undo custSel addSld delSld modSld sldOrd modSection">
      <pc:chgData name="Rizky Fajar" userId="490a5c0ae4650a6d" providerId="LiveId" clId="{D1CE0F0A-6BCF-46E5-A682-E2750EE6D310}" dt="2024-09-29T17:11:56.873" v="3870" actId="1036"/>
      <pc:docMkLst>
        <pc:docMk/>
      </pc:docMkLst>
      <pc:sldChg chg="addSp delSp modSp add mod ord">
        <pc:chgData name="Rizky Fajar" userId="490a5c0ae4650a6d" providerId="LiveId" clId="{D1CE0F0A-6BCF-46E5-A682-E2750EE6D310}" dt="2024-09-29T17:07:56.611" v="3818" actId="20577"/>
        <pc:sldMkLst>
          <pc:docMk/>
          <pc:sldMk cId="2158894548" sldId="3856"/>
        </pc:sldMkLst>
      </pc:sldChg>
      <pc:sldChg chg="del">
        <pc:chgData name="Rizky Fajar" userId="490a5c0ae4650a6d" providerId="LiveId" clId="{D1CE0F0A-6BCF-46E5-A682-E2750EE6D310}" dt="2024-09-29T15:38:59.321" v="207" actId="47"/>
        <pc:sldMkLst>
          <pc:docMk/>
          <pc:sldMk cId="3853438254" sldId="4027"/>
        </pc:sldMkLst>
      </pc:sldChg>
      <pc:sldChg chg="del">
        <pc:chgData name="Rizky Fajar" userId="490a5c0ae4650a6d" providerId="LiveId" clId="{D1CE0F0A-6BCF-46E5-A682-E2750EE6D310}" dt="2024-09-29T15:39:14.727" v="208" actId="47"/>
        <pc:sldMkLst>
          <pc:docMk/>
          <pc:sldMk cId="804872904" sldId="4028"/>
        </pc:sldMkLst>
      </pc:sldChg>
      <pc:sldChg chg="delSp modSp add del mod">
        <pc:chgData name="Rizky Fajar" userId="490a5c0ae4650a6d" providerId="LiveId" clId="{D1CE0F0A-6BCF-46E5-A682-E2750EE6D310}" dt="2024-09-29T17:06:16.626" v="3723" actId="47"/>
        <pc:sldMkLst>
          <pc:docMk/>
          <pc:sldMk cId="3033883038" sldId="4029"/>
        </pc:sldMkLst>
      </pc:sldChg>
      <pc:sldChg chg="del">
        <pc:chgData name="Rizky Fajar" userId="490a5c0ae4650a6d" providerId="LiveId" clId="{D1CE0F0A-6BCF-46E5-A682-E2750EE6D310}" dt="2024-09-29T17:06:16.626" v="3723" actId="47"/>
        <pc:sldMkLst>
          <pc:docMk/>
          <pc:sldMk cId="802796825" sldId="4030"/>
        </pc:sldMkLst>
      </pc:sldChg>
      <pc:sldChg chg="del">
        <pc:chgData name="Rizky Fajar" userId="490a5c0ae4650a6d" providerId="LiveId" clId="{D1CE0F0A-6BCF-46E5-A682-E2750EE6D310}" dt="2024-09-29T17:06:16.626" v="3723" actId="47"/>
        <pc:sldMkLst>
          <pc:docMk/>
          <pc:sldMk cId="2153555081" sldId="4031"/>
        </pc:sldMkLst>
      </pc:sldChg>
      <pc:sldChg chg="del">
        <pc:chgData name="Rizky Fajar" userId="490a5c0ae4650a6d" providerId="LiveId" clId="{D1CE0F0A-6BCF-46E5-A682-E2750EE6D310}" dt="2024-09-29T15:39:14.758" v="209" actId="47"/>
        <pc:sldMkLst>
          <pc:docMk/>
          <pc:sldMk cId="368178181" sldId="4032"/>
        </pc:sldMkLst>
      </pc:sldChg>
      <pc:sldChg chg="addSp delSp modSp add mod ord">
        <pc:chgData name="Rizky Fajar" userId="490a5c0ae4650a6d" providerId="LiveId" clId="{D1CE0F0A-6BCF-46E5-A682-E2750EE6D310}" dt="2024-09-29T17:11:56.873" v="3870" actId="1036"/>
        <pc:sldMkLst>
          <pc:docMk/>
          <pc:sldMk cId="3425220804" sldId="4032"/>
        </pc:sldMkLst>
      </pc:sldChg>
      <pc:sldChg chg="modSp add mod">
        <pc:chgData name="Rizky Fajar" userId="490a5c0ae4650a6d" providerId="LiveId" clId="{D1CE0F0A-6BCF-46E5-A682-E2750EE6D310}" dt="2024-09-29T17:08:12.882" v="3838" actId="20577"/>
        <pc:sldMkLst>
          <pc:docMk/>
          <pc:sldMk cId="1555091660" sldId="4033"/>
        </pc:sldMkLst>
      </pc:sldChg>
      <pc:sldChg chg="modSp add mod">
        <pc:chgData name="Rizky Fajar" userId="490a5c0ae4650a6d" providerId="LiveId" clId="{D1CE0F0A-6BCF-46E5-A682-E2750EE6D310}" dt="2024-09-29T17:08:25.687" v="3848" actId="20577"/>
        <pc:sldMkLst>
          <pc:docMk/>
          <pc:sldMk cId="3868189438" sldId="4034"/>
        </pc:sldMkLst>
      </pc:sldChg>
    </pc:docChg>
  </pc:docChgLst>
  <pc:docChgLst>
    <pc:chgData name="Syarifa Diandrina" userId="79f2e37a-5960-4f0b-aa36-f31bbddee235" providerId="ADAL" clId="{8B9D4BE5-5011-4421-BD4A-4A8E76492E3C}"/>
    <pc:docChg chg="modSld">
      <pc:chgData name="Syarifa Diandrina" userId="79f2e37a-5960-4f0b-aa36-f31bbddee235" providerId="ADAL" clId="{8B9D4BE5-5011-4421-BD4A-4A8E76492E3C}" dt="2024-08-06T01:44:14.474" v="1" actId="27918"/>
      <pc:docMkLst>
        <pc:docMk/>
      </pc:docMkLst>
      <pc:sldChg chg="mod">
        <pc:chgData name="Syarifa Diandrina" userId="79f2e37a-5960-4f0b-aa36-f31bbddee235" providerId="ADAL" clId="{8B9D4BE5-5011-4421-BD4A-4A8E76492E3C}" dt="2024-08-06T01:44:14.474" v="1" actId="27918"/>
        <pc:sldMkLst>
          <pc:docMk/>
          <pc:sldMk cId="2700089645" sldId="4024"/>
        </pc:sldMkLst>
      </pc:sldChg>
    </pc:docChg>
  </pc:docChgLst>
  <pc:docChgLst>
    <pc:chgData name="Rizky Fajar" userId="490a5c0ae4650a6d" providerId="LiveId" clId="{BE2C7505-A2EB-4EF1-B889-834D576FC10C}"/>
    <pc:docChg chg="undo redo custSel addSld delSld modSld delSection modSection">
      <pc:chgData name="Rizky Fajar" userId="490a5c0ae4650a6d" providerId="LiveId" clId="{BE2C7505-A2EB-4EF1-B889-834D576FC10C}" dt="2024-12-31T08:26:14.785" v="10678" actId="20577"/>
      <pc:docMkLst>
        <pc:docMk/>
      </pc:docMkLst>
      <pc:sldChg chg="modSp mod">
        <pc:chgData name="Rizky Fajar" userId="490a5c0ae4650a6d" providerId="LiveId" clId="{BE2C7505-A2EB-4EF1-B889-834D576FC10C}" dt="2024-12-23T03:58:57.088" v="10610" actId="20577"/>
        <pc:sldMkLst>
          <pc:docMk/>
          <pc:sldMk cId="2158894548" sldId="3856"/>
        </pc:sldMkLst>
      </pc:sldChg>
      <pc:sldChg chg="del">
        <pc:chgData name="Rizky Fajar" userId="490a5c0ae4650a6d" providerId="LiveId" clId="{BE2C7505-A2EB-4EF1-B889-834D576FC10C}" dt="2024-12-22T18:58:13.941" v="8743" actId="2696"/>
        <pc:sldMkLst>
          <pc:docMk/>
          <pc:sldMk cId="1651964774" sldId="3869"/>
        </pc:sldMkLst>
      </pc:sldChg>
      <pc:sldChg chg="add del">
        <pc:chgData name="Rizky Fajar" userId="490a5c0ae4650a6d" providerId="LiveId" clId="{BE2C7505-A2EB-4EF1-B889-834D576FC10C}" dt="2024-12-22T19:02:23.091" v="8863" actId="47"/>
        <pc:sldMkLst>
          <pc:docMk/>
          <pc:sldMk cId="2686553386" sldId="3869"/>
        </pc:sldMkLst>
      </pc:sldChg>
      <pc:sldChg chg="modSp add mod">
        <pc:chgData name="Rizky Fajar" userId="490a5c0ae4650a6d" providerId="LiveId" clId="{BE2C7505-A2EB-4EF1-B889-834D576FC10C}" dt="2024-12-22T19:02:02.973" v="8862" actId="113"/>
        <pc:sldMkLst>
          <pc:docMk/>
          <pc:sldMk cId="2661136957" sldId="4034"/>
        </pc:sldMkLst>
      </pc:sldChg>
      <pc:sldChg chg="del">
        <pc:chgData name="Rizky Fajar" userId="490a5c0ae4650a6d" providerId="LiveId" clId="{BE2C7505-A2EB-4EF1-B889-834D576FC10C}" dt="2024-12-22T18:59:15.180" v="8762" actId="2696"/>
        <pc:sldMkLst>
          <pc:docMk/>
          <pc:sldMk cId="3868189438" sldId="4034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2391068577" sldId="4035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3655741543" sldId="4036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3783977622" sldId="4037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962050034" sldId="4038"/>
        </pc:sldMkLst>
      </pc:sldChg>
      <pc:sldChg chg="add del mod modShow">
        <pc:chgData name="Rizky Fajar" userId="490a5c0ae4650a6d" providerId="LiveId" clId="{BE2C7505-A2EB-4EF1-B889-834D576FC10C}" dt="2024-12-22T19:02:23.091" v="8863" actId="47"/>
        <pc:sldMkLst>
          <pc:docMk/>
          <pc:sldMk cId="367019018" sldId="4039"/>
        </pc:sldMkLst>
      </pc:sldChg>
      <pc:sldChg chg="del">
        <pc:chgData name="Rizky Fajar" userId="490a5c0ae4650a6d" providerId="LiveId" clId="{BE2C7505-A2EB-4EF1-B889-834D576FC10C}" dt="2024-12-22T18:58:13.941" v="8743" actId="2696"/>
        <pc:sldMkLst>
          <pc:docMk/>
          <pc:sldMk cId="3680591408" sldId="4039"/>
        </pc:sldMkLst>
      </pc:sldChg>
      <pc:sldChg chg="add del mod modShow">
        <pc:chgData name="Rizky Fajar" userId="490a5c0ae4650a6d" providerId="LiveId" clId="{BE2C7505-A2EB-4EF1-B889-834D576FC10C}" dt="2024-12-22T19:02:23.091" v="8863" actId="47"/>
        <pc:sldMkLst>
          <pc:docMk/>
          <pc:sldMk cId="1920246645" sldId="4040"/>
        </pc:sldMkLst>
      </pc:sldChg>
      <pc:sldChg chg="del">
        <pc:chgData name="Rizky Fajar" userId="490a5c0ae4650a6d" providerId="LiveId" clId="{BE2C7505-A2EB-4EF1-B889-834D576FC10C}" dt="2024-12-22T18:58:13.941" v="8743" actId="2696"/>
        <pc:sldMkLst>
          <pc:docMk/>
          <pc:sldMk cId="4130923470" sldId="4040"/>
        </pc:sldMkLst>
      </pc:sldChg>
      <pc:sldChg chg="del">
        <pc:chgData name="Rizky Fajar" userId="490a5c0ae4650a6d" providerId="LiveId" clId="{BE2C7505-A2EB-4EF1-B889-834D576FC10C}" dt="2024-12-22T19:03:54.430" v="8866" actId="47"/>
        <pc:sldMkLst>
          <pc:docMk/>
          <pc:sldMk cId="3423551259" sldId="4041"/>
        </pc:sldMkLst>
      </pc:sldChg>
      <pc:sldChg chg="delSp modSp mod">
        <pc:chgData name="Rizky Fajar" userId="490a5c0ae4650a6d" providerId="LiveId" clId="{BE2C7505-A2EB-4EF1-B889-834D576FC10C}" dt="2024-12-22T19:12:29.986" v="8974"/>
        <pc:sldMkLst>
          <pc:docMk/>
          <pc:sldMk cId="478176969" sldId="4043"/>
        </pc:sldMkLst>
      </pc:sldChg>
      <pc:sldChg chg="modSp mod">
        <pc:chgData name="Rizky Fajar" userId="490a5c0ae4650a6d" providerId="LiveId" clId="{BE2C7505-A2EB-4EF1-B889-834D576FC10C}" dt="2024-12-22T17:06:10.946" v="5193" actId="1035"/>
        <pc:sldMkLst>
          <pc:docMk/>
          <pc:sldMk cId="2137040807" sldId="4044"/>
        </pc:sldMkLst>
      </pc:sldChg>
      <pc:sldChg chg="addSp delSp modSp mod">
        <pc:chgData name="Rizky Fajar" userId="490a5c0ae4650a6d" providerId="LiveId" clId="{BE2C7505-A2EB-4EF1-B889-834D576FC10C}" dt="2024-12-22T19:04:15.728" v="8899" actId="20577"/>
        <pc:sldMkLst>
          <pc:docMk/>
          <pc:sldMk cId="2731431347" sldId="4045"/>
        </pc:sldMkLst>
      </pc:sldChg>
      <pc:sldChg chg="addSp delSp modSp add mod">
        <pc:chgData name="Rizky Fajar" userId="490a5c0ae4650a6d" providerId="LiveId" clId="{BE2C7505-A2EB-4EF1-B889-834D576FC10C}" dt="2024-12-22T19:04:23.337" v="8901"/>
        <pc:sldMkLst>
          <pc:docMk/>
          <pc:sldMk cId="1379156853" sldId="4046"/>
        </pc:sldMkLst>
      </pc:sldChg>
      <pc:sldChg chg="addSp delSp modSp add del mod modShow">
        <pc:chgData name="Rizky Fajar" userId="490a5c0ae4650a6d" providerId="LiveId" clId="{BE2C7505-A2EB-4EF1-B889-834D576FC10C}" dt="2024-12-22T18:58:13.941" v="8743" actId="2696"/>
        <pc:sldMkLst>
          <pc:docMk/>
          <pc:sldMk cId="614413591" sldId="4047"/>
        </pc:sldMkLst>
      </pc:sldChg>
      <pc:sldChg chg="add del">
        <pc:chgData name="Rizky Fajar" userId="490a5c0ae4650a6d" providerId="LiveId" clId="{BE2C7505-A2EB-4EF1-B889-834D576FC10C}" dt="2024-12-22T19:02:23.091" v="8863" actId="47"/>
        <pc:sldMkLst>
          <pc:docMk/>
          <pc:sldMk cId="3452391061" sldId="4047"/>
        </pc:sldMkLst>
      </pc:sldChg>
      <pc:sldChg chg="add del">
        <pc:chgData name="Rizky Fajar" userId="490a5c0ae4650a6d" providerId="LiveId" clId="{BE2C7505-A2EB-4EF1-B889-834D576FC10C}" dt="2024-12-22T15:51:05.769" v="2267" actId="2890"/>
        <pc:sldMkLst>
          <pc:docMk/>
          <pc:sldMk cId="309615544" sldId="4048"/>
        </pc:sldMkLst>
      </pc:sldChg>
      <pc:sldChg chg="addSp delSp modSp add mod">
        <pc:chgData name="Rizky Fajar" userId="490a5c0ae4650a6d" providerId="LiveId" clId="{BE2C7505-A2EB-4EF1-B889-834D576FC10C}" dt="2024-12-23T03:22:21.135" v="10253" actId="165"/>
        <pc:sldMkLst>
          <pc:docMk/>
          <pc:sldMk cId="2197136769" sldId="4048"/>
        </pc:sldMkLst>
      </pc:sldChg>
      <pc:sldChg chg="addSp delSp modSp add mod">
        <pc:chgData name="Rizky Fajar" userId="490a5c0ae4650a6d" providerId="LiveId" clId="{BE2C7505-A2EB-4EF1-B889-834D576FC10C}" dt="2024-12-23T07:00:24.379" v="10674" actId="20577"/>
        <pc:sldMkLst>
          <pc:docMk/>
          <pc:sldMk cId="1701110668" sldId="4049"/>
        </pc:sldMkLst>
      </pc:sldChg>
      <pc:sldChg chg="addSp delSp modSp add mod">
        <pc:chgData name="Rizky Fajar" userId="490a5c0ae4650a6d" providerId="LiveId" clId="{BE2C7505-A2EB-4EF1-B889-834D576FC10C}" dt="2024-12-22T19:04:33.081" v="8907"/>
        <pc:sldMkLst>
          <pc:docMk/>
          <pc:sldMk cId="1086085138" sldId="4050"/>
        </pc:sldMkLst>
      </pc:sldChg>
      <pc:sldChg chg="addSp delSp modSp add mod">
        <pc:chgData name="Rizky Fajar" userId="490a5c0ae4650a6d" providerId="LiveId" clId="{BE2C7505-A2EB-4EF1-B889-834D576FC10C}" dt="2024-12-23T02:28:37.935" v="9005"/>
        <pc:sldMkLst>
          <pc:docMk/>
          <pc:sldMk cId="693959529" sldId="4051"/>
        </pc:sldMkLst>
      </pc:sldChg>
      <pc:sldChg chg="addSp delSp modSp add mod">
        <pc:chgData name="Rizky Fajar" userId="490a5c0ae4650a6d" providerId="LiveId" clId="{BE2C7505-A2EB-4EF1-B889-834D576FC10C}" dt="2024-12-22T19:10:09.200" v="8970"/>
        <pc:sldMkLst>
          <pc:docMk/>
          <pc:sldMk cId="1072103729" sldId="4052"/>
        </pc:sldMkLst>
      </pc:sldChg>
      <pc:sldChg chg="add del">
        <pc:chgData name="Rizky Fajar" userId="490a5c0ae4650a6d" providerId="LiveId" clId="{BE2C7505-A2EB-4EF1-B889-834D576FC10C}" dt="2024-12-22T18:31:37.870" v="7061"/>
        <pc:sldMkLst>
          <pc:docMk/>
          <pc:sldMk cId="2244915802" sldId="4052"/>
        </pc:sldMkLst>
      </pc:sldChg>
      <pc:sldChg chg="delSp modSp add del mod">
        <pc:chgData name="Rizky Fajar" userId="490a5c0ae4650a6d" providerId="LiveId" clId="{BE2C7505-A2EB-4EF1-B889-834D576FC10C}" dt="2024-12-23T02:29:30.399" v="9006" actId="47"/>
        <pc:sldMkLst>
          <pc:docMk/>
          <pc:sldMk cId="2318650397" sldId="4053"/>
        </pc:sldMkLst>
      </pc:sldChg>
      <pc:sldChg chg="addSp delSp modSp add mod modShow">
        <pc:chgData name="Rizky Fajar" userId="490a5c0ae4650a6d" providerId="LiveId" clId="{BE2C7505-A2EB-4EF1-B889-834D576FC10C}" dt="2024-12-31T08:26:14.785" v="10678" actId="20577"/>
        <pc:sldMkLst>
          <pc:docMk/>
          <pc:sldMk cId="4285811609" sldId="4053"/>
        </pc:sldMkLst>
      </pc:sldChg>
    </pc:docChg>
  </pc:docChgLst>
  <pc:docChgLst>
    <pc:chgData name="Rizky Aditya" userId="52991656-54c1-45f8-96fe-8249ee811bf3" providerId="ADAL" clId="{5A8F9C53-FE13-4895-AC79-C6A33C91B8C1}"/>
    <pc:docChg chg="undo custSel addSld delSld modSld sldOrd addSection modSection">
      <pc:chgData name="Rizky Aditya" userId="52991656-54c1-45f8-96fe-8249ee811bf3" providerId="ADAL" clId="{5A8F9C53-FE13-4895-AC79-C6A33C91B8C1}" dt="2024-06-13T02:36:27.601" v="8915" actId="1037"/>
      <pc:docMkLst>
        <pc:docMk/>
      </pc:docMkLst>
      <pc:sldChg chg="addSp delSp modSp add del mod">
        <pc:chgData name="Rizky Aditya" userId="52991656-54c1-45f8-96fe-8249ee811bf3" providerId="ADAL" clId="{5A8F9C53-FE13-4895-AC79-C6A33C91B8C1}" dt="2024-06-11T09:53:17.973" v="3651" actId="47"/>
        <pc:sldMkLst>
          <pc:docMk/>
          <pc:sldMk cId="2734515042" sldId="259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3867097331" sldId="297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1880710679" sldId="353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4293369153" sldId="356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1181954916" sldId="359"/>
        </pc:sldMkLst>
      </pc:sldChg>
      <pc:sldChg chg="addSp delSp modSp mod ord modShow">
        <pc:chgData name="Rizky Aditya" userId="52991656-54c1-45f8-96fe-8249ee811bf3" providerId="ADAL" clId="{5A8F9C53-FE13-4895-AC79-C6A33C91B8C1}" dt="2024-06-11T09:38:30.216" v="3161" actId="729"/>
        <pc:sldMkLst>
          <pc:docMk/>
          <pc:sldMk cId="2907044538" sldId="362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1798411883" sldId="366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2172375046" sldId="378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3968000504" sldId="379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847913583" sldId="382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1922518372" sldId="428"/>
        </pc:sldMkLst>
      </pc:sldChg>
      <pc:sldChg chg="addSp delSp modSp add del mod">
        <pc:chgData name="Rizky Aditya" userId="52991656-54c1-45f8-96fe-8249ee811bf3" providerId="ADAL" clId="{5A8F9C53-FE13-4895-AC79-C6A33C91B8C1}" dt="2024-06-11T08:22:48.425" v="957" actId="47"/>
        <pc:sldMkLst>
          <pc:docMk/>
          <pc:sldMk cId="1791972678" sldId="429"/>
        </pc:sldMkLst>
      </pc:sldChg>
      <pc:sldChg chg="addSp delSp modSp add mod ord setBg modShow">
        <pc:chgData name="Rizky Aditya" userId="52991656-54c1-45f8-96fe-8249ee811bf3" providerId="ADAL" clId="{5A8F9C53-FE13-4895-AC79-C6A33C91B8C1}" dt="2024-06-11T09:38:30.216" v="3161" actId="729"/>
        <pc:sldMkLst>
          <pc:docMk/>
          <pc:sldMk cId="2568355935" sldId="430"/>
        </pc:sldMkLst>
      </pc:sldChg>
      <pc:sldChg chg="addSp delSp modSp add mod">
        <pc:chgData name="Rizky Aditya" userId="52991656-54c1-45f8-96fe-8249ee811bf3" providerId="ADAL" clId="{5A8F9C53-FE13-4895-AC79-C6A33C91B8C1}" dt="2024-06-12T16:15:58.955" v="8088"/>
        <pc:sldMkLst>
          <pc:docMk/>
          <pc:sldMk cId="1689366057" sldId="431"/>
        </pc:sldMkLst>
      </pc:sldChg>
      <pc:sldChg chg="addSp delSp modSp add del mod">
        <pc:chgData name="Rizky Aditya" userId="52991656-54c1-45f8-96fe-8249ee811bf3" providerId="ADAL" clId="{5A8F9C53-FE13-4895-AC79-C6A33C91B8C1}" dt="2024-06-11T09:14:21.281" v="2131" actId="47"/>
        <pc:sldMkLst>
          <pc:docMk/>
          <pc:sldMk cId="1352864814" sldId="432"/>
        </pc:sldMkLst>
      </pc:sldChg>
      <pc:sldChg chg="addSp delSp modSp add mod ord">
        <pc:chgData name="Rizky Aditya" userId="52991656-54c1-45f8-96fe-8249ee811bf3" providerId="ADAL" clId="{5A8F9C53-FE13-4895-AC79-C6A33C91B8C1}" dt="2024-06-12T10:04:13.668" v="6862" actId="14100"/>
        <pc:sldMkLst>
          <pc:docMk/>
          <pc:sldMk cId="1255580606" sldId="433"/>
        </pc:sldMkLst>
      </pc:sldChg>
      <pc:sldChg chg="add del">
        <pc:chgData name="Rizky Aditya" userId="52991656-54c1-45f8-96fe-8249ee811bf3" providerId="ADAL" clId="{5A8F9C53-FE13-4895-AC79-C6A33C91B8C1}" dt="2024-06-11T09:13:33.950" v="2119" actId="47"/>
        <pc:sldMkLst>
          <pc:docMk/>
          <pc:sldMk cId="1607608671" sldId="433"/>
        </pc:sldMkLst>
      </pc:sldChg>
      <pc:sldChg chg="add mod ord modShow">
        <pc:chgData name="Rizky Aditya" userId="52991656-54c1-45f8-96fe-8249ee811bf3" providerId="ADAL" clId="{5A8F9C53-FE13-4895-AC79-C6A33C91B8C1}" dt="2024-06-12T11:21:51.506" v="7036" actId="729"/>
        <pc:sldMkLst>
          <pc:docMk/>
          <pc:sldMk cId="3878810061" sldId="434"/>
        </pc:sldMkLst>
      </pc:sldChg>
      <pc:sldChg chg="add del">
        <pc:chgData name="Rizky Aditya" userId="52991656-54c1-45f8-96fe-8249ee811bf3" providerId="ADAL" clId="{5A8F9C53-FE13-4895-AC79-C6A33C91B8C1}" dt="2024-06-12T14:58:07.538" v="7387"/>
        <pc:sldMkLst>
          <pc:docMk/>
          <pc:sldMk cId="4034380958" sldId="435"/>
        </pc:sldMkLst>
      </pc:sldChg>
      <pc:sldChg chg="addSp delSp modSp add mod ord">
        <pc:chgData name="Rizky Aditya" userId="52991656-54c1-45f8-96fe-8249ee811bf3" providerId="ADAL" clId="{5A8F9C53-FE13-4895-AC79-C6A33C91B8C1}" dt="2024-06-13T02:36:27.601" v="8915" actId="1037"/>
        <pc:sldMkLst>
          <pc:docMk/>
          <pc:sldMk cId="3300756953" sldId="4023"/>
        </pc:sldMkLst>
      </pc:sldChg>
      <pc:sldMasterChg chg="delSldLayout">
        <pc:chgData name="Rizky Aditya" userId="52991656-54c1-45f8-96fe-8249ee811bf3" providerId="ADAL" clId="{5A8F9C53-FE13-4895-AC79-C6A33C91B8C1}" dt="2024-06-11T06:32:01.315" v="1" actId="47"/>
        <pc:sldMasterMkLst>
          <pc:docMk/>
          <pc:sldMasterMk cId="1266181111" sldId="2147483841"/>
        </pc:sldMasterMkLst>
        <pc:sldLayoutChg chg="del">
          <pc:chgData name="Rizky Aditya" userId="52991656-54c1-45f8-96fe-8249ee811bf3" providerId="ADAL" clId="{5A8F9C53-FE13-4895-AC79-C6A33C91B8C1}" dt="2024-06-11T06:32:01.315" v="1" actId="47"/>
          <pc:sldLayoutMkLst>
            <pc:docMk/>
            <pc:sldMasterMk cId="1266181111" sldId="2147483841"/>
            <pc:sldLayoutMk cId="3265708224" sldId="2147483860"/>
          </pc:sldLayoutMkLst>
        </pc:sldLayoutChg>
      </pc:sldMasterChg>
    </pc:docChg>
  </pc:docChgLst>
  <pc:docChgLst>
    <pc:chgData name="Rizky Fajar" userId="490a5c0ae4650a6d" providerId="LiveId" clId="{08BFC966-FBF6-4E8D-B489-7CB656E222B6}"/>
    <pc:docChg chg="modSld">
      <pc:chgData name="Rizky Fajar" userId="490a5c0ae4650a6d" providerId="LiveId" clId="{08BFC966-FBF6-4E8D-B489-7CB656E222B6}" dt="2024-11-19T13:55:16.007" v="34" actId="20577"/>
      <pc:docMkLst>
        <pc:docMk/>
      </pc:docMkLst>
      <pc:sldChg chg="modSp mod">
        <pc:chgData name="Rizky Fajar" userId="490a5c0ae4650a6d" providerId="LiveId" clId="{08BFC966-FBF6-4E8D-B489-7CB656E222B6}" dt="2024-11-19T13:55:16.007" v="34" actId="20577"/>
        <pc:sldMkLst>
          <pc:docMk/>
          <pc:sldMk cId="2158894548" sldId="3856"/>
        </pc:sldMkLst>
      </pc:sldChg>
    </pc:docChg>
  </pc:docChgLst>
  <pc:docChgLst>
    <pc:chgData name="Guest User" userId="S::urn:spo:anon#83316ae98d3b6af30aec2ee586d2cdd5ca0af2fc6ed1d0f6b8a3ab3742f4ea89::" providerId="AD" clId="Web-{4A48B17B-BCD7-4EC8-682C-8C9C613CE4F0}"/>
    <pc:docChg chg="modSld">
      <pc:chgData name="Guest User" userId="S::urn:spo:anon#83316ae98d3b6af30aec2ee586d2cdd5ca0af2fc6ed1d0f6b8a3ab3742f4ea89::" providerId="AD" clId="Web-{4A48B17B-BCD7-4EC8-682C-8C9C613CE4F0}" dt="2024-06-27T06:21:43.885" v="0" actId="1076"/>
      <pc:docMkLst>
        <pc:docMk/>
      </pc:docMkLst>
      <pc:sldChg chg="modSp">
        <pc:chgData name="Guest User" userId="S::urn:spo:anon#83316ae98d3b6af30aec2ee586d2cdd5ca0af2fc6ed1d0f6b8a3ab3742f4ea89::" providerId="AD" clId="Web-{4A48B17B-BCD7-4EC8-682C-8C9C613CE4F0}" dt="2024-06-27T06:21:43.885" v="0" actId="1076"/>
        <pc:sldMkLst>
          <pc:docMk/>
          <pc:sldMk cId="2700089645" sldId="4024"/>
        </pc:sldMkLst>
      </pc:sldChg>
    </pc:docChg>
  </pc:docChgLst>
  <pc:docChgLst>
    <pc:chgData name="Rizky Aditya" userId="S::rizky.aditya@triputraenergi.com::52991656-54c1-45f8-96fe-8249ee811bf3" providerId="AD" clId="Web-{6FFC252D-C70D-95CA-385D-E87386BCFA0D}"/>
    <pc:docChg chg="modSld">
      <pc:chgData name="Rizky Aditya" userId="S::rizky.aditya@triputraenergi.com::52991656-54c1-45f8-96fe-8249ee811bf3" providerId="AD" clId="Web-{6FFC252D-C70D-95CA-385D-E87386BCFA0D}" dt="2024-09-19T03:21:28.397" v="28"/>
      <pc:docMkLst>
        <pc:docMk/>
      </pc:docMkLst>
      <pc:sldChg chg="modSp">
        <pc:chgData name="Rizky Aditya" userId="S::rizky.aditya@triputraenergi.com::52991656-54c1-45f8-96fe-8249ee811bf3" providerId="AD" clId="Web-{6FFC252D-C70D-95CA-385D-E87386BCFA0D}" dt="2024-09-19T03:13:10.335" v="0"/>
        <pc:sldMkLst>
          <pc:docMk/>
          <pc:sldMk cId="3853438254" sldId="4027"/>
        </pc:sldMkLst>
      </pc:sldChg>
      <pc:sldChg chg="addSp delSp modSp">
        <pc:chgData name="Rizky Aditya" userId="S::rizky.aditya@triputraenergi.com::52991656-54c1-45f8-96fe-8249ee811bf3" providerId="AD" clId="Web-{6FFC252D-C70D-95CA-385D-E87386BCFA0D}" dt="2024-09-19T03:21:28.397" v="28"/>
        <pc:sldMkLst>
          <pc:docMk/>
          <pc:sldMk cId="2153555081" sldId="4031"/>
        </pc:sldMkLst>
      </pc:sldChg>
    </pc:docChg>
  </pc:docChgLst>
  <pc:docChgLst>
    <pc:chgData name="Rizky Aditya" userId="52991656-54c1-45f8-96fe-8249ee811bf3" providerId="ADAL" clId="{FDB2EBF1-BA42-43D7-8833-DDB2871B90FB}"/>
    <pc:docChg chg="modSld delSection">
      <pc:chgData name="Rizky Aditya" userId="52991656-54c1-45f8-96fe-8249ee811bf3" providerId="ADAL" clId="{FDB2EBF1-BA42-43D7-8833-DDB2871B90FB}" dt="2024-09-03T04:12:36.943" v="1" actId="47"/>
      <pc:docMkLst>
        <pc:docMk/>
      </pc:docMkLst>
      <pc:sldChg chg="modSp mod">
        <pc:chgData name="Rizky Aditya" userId="52991656-54c1-45f8-96fe-8249ee811bf3" providerId="ADAL" clId="{FDB2EBF1-BA42-43D7-8833-DDB2871B90FB}" dt="2024-09-03T03:27:21.198" v="0" actId="1076"/>
        <pc:sldMkLst>
          <pc:docMk/>
          <pc:sldMk cId="2700089645" sldId="4024"/>
        </pc:sldMkLst>
      </pc:sldChg>
    </pc:docChg>
  </pc:docChgLst>
  <pc:docChgLst>
    <pc:chgData name="Siti Nur Anisah" userId="ef938a9b-f168-4166-ba81-4519e2c5e17d" providerId="ADAL" clId="{2B6FF0FB-D225-4D8F-9BB5-E6BB27BDA6A5}"/>
    <pc:docChg chg="undo custSel modSld">
      <pc:chgData name="Siti Nur Anisah" userId="ef938a9b-f168-4166-ba81-4519e2c5e17d" providerId="ADAL" clId="{2B6FF0FB-D225-4D8F-9BB5-E6BB27BDA6A5}" dt="2024-06-11T11:23:48.472" v="1" actId="14100"/>
      <pc:docMkLst>
        <pc:docMk/>
      </pc:docMkLst>
      <pc:sldChg chg="modSp mod">
        <pc:chgData name="Siti Nur Anisah" userId="ef938a9b-f168-4166-ba81-4519e2c5e17d" providerId="ADAL" clId="{2B6FF0FB-D225-4D8F-9BB5-E6BB27BDA6A5}" dt="2024-06-11T11:23:48.472" v="1" actId="14100"/>
        <pc:sldMkLst>
          <pc:docMk/>
          <pc:sldMk cId="1255580606" sldId="433"/>
        </pc:sldMkLst>
      </pc:sldChg>
    </pc:docChg>
  </pc:docChgLst>
  <pc:docChgLst>
    <pc:chgData name="Rizky Fajar" userId="490a5c0ae4650a6d" providerId="LiveId" clId="{333143B3-B6CA-45C5-8061-3F03017FDB6D}"/>
    <pc:docChg chg="undo custSel addSld delSld modSld sldOrd addSection modSection">
      <pc:chgData name="Rizky Fajar" userId="490a5c0ae4650a6d" providerId="LiveId" clId="{333143B3-B6CA-45C5-8061-3F03017FDB6D}" dt="2025-03-20T15:00:01.761" v="3966" actId="20577"/>
      <pc:docMkLst>
        <pc:docMk/>
      </pc:docMkLst>
      <pc:sldChg chg="addSp delSp modSp mod">
        <pc:chgData name="Rizky Fajar" userId="490a5c0ae4650a6d" providerId="LiveId" clId="{333143B3-B6CA-45C5-8061-3F03017FDB6D}" dt="2025-03-20T14:59:13.432" v="3885" actId="1076"/>
        <pc:sldMkLst>
          <pc:docMk/>
          <pc:sldMk cId="478176969" sldId="4043"/>
        </pc:sldMkLst>
        <pc:spChg chg="mod">
          <ac:chgData name="Rizky Fajar" userId="490a5c0ae4650a6d" providerId="LiveId" clId="{333143B3-B6CA-45C5-8061-3F03017FDB6D}" dt="2025-03-20T12:14:46.550" v="138" actId="20577"/>
          <ac:spMkLst>
            <pc:docMk/>
            <pc:sldMk cId="478176969" sldId="4043"/>
            <ac:spMk id="3" creationId="{62DEE151-64AE-AA9C-FCB1-276B785A9C86}"/>
          </ac:spMkLst>
        </pc:spChg>
        <pc:spChg chg="mod">
          <ac:chgData name="Rizky Fajar" userId="490a5c0ae4650a6d" providerId="LiveId" clId="{333143B3-B6CA-45C5-8061-3F03017FDB6D}" dt="2025-03-20T12:15:08.322" v="203" actId="20577"/>
          <ac:spMkLst>
            <pc:docMk/>
            <pc:sldMk cId="478176969" sldId="4043"/>
            <ac:spMk id="5" creationId="{9553D817-A4F9-D4EE-A83E-E9DDAFE7E434}"/>
          </ac:spMkLst>
        </pc:spChg>
        <pc:spChg chg="del">
          <ac:chgData name="Rizky Fajar" userId="490a5c0ae4650a6d" providerId="LiveId" clId="{333143B3-B6CA-45C5-8061-3F03017FDB6D}" dt="2025-03-20T12:14:01.267" v="89" actId="478"/>
          <ac:spMkLst>
            <pc:docMk/>
            <pc:sldMk cId="478176969" sldId="4043"/>
            <ac:spMk id="7" creationId="{6610C69A-E6E7-E2EE-4C13-AAC8DF48413F}"/>
          </ac:spMkLst>
        </pc:spChg>
        <pc:spChg chg="mod">
          <ac:chgData name="Rizky Fajar" userId="490a5c0ae4650a6d" providerId="LiveId" clId="{333143B3-B6CA-45C5-8061-3F03017FDB6D}" dt="2025-03-20T12:15:20.048" v="243" actId="20577"/>
          <ac:spMkLst>
            <pc:docMk/>
            <pc:sldMk cId="478176969" sldId="4043"/>
            <ac:spMk id="8" creationId="{BD53C736-3F53-79F1-FD50-2E8C02376D72}"/>
          </ac:spMkLst>
        </pc:spChg>
        <pc:spChg chg="del mod">
          <ac:chgData name="Rizky Fajar" userId="490a5c0ae4650a6d" providerId="LiveId" clId="{333143B3-B6CA-45C5-8061-3F03017FDB6D}" dt="2025-03-20T14:59:04.654" v="3878" actId="478"/>
          <ac:spMkLst>
            <pc:docMk/>
            <pc:sldMk cId="478176969" sldId="4043"/>
            <ac:spMk id="9" creationId="{DA1F0FA7-59C7-FAF5-DAF8-85B441108C9C}"/>
          </ac:spMkLst>
        </pc:spChg>
        <pc:spChg chg="del mod">
          <ac:chgData name="Rizky Fajar" userId="490a5c0ae4650a6d" providerId="LiveId" clId="{333143B3-B6CA-45C5-8061-3F03017FDB6D}" dt="2025-03-20T14:59:04.654" v="3878" actId="478"/>
          <ac:spMkLst>
            <pc:docMk/>
            <pc:sldMk cId="478176969" sldId="4043"/>
            <ac:spMk id="10" creationId="{DC38C997-9871-C4EA-E543-F0C355E9FE1B}"/>
          </ac:spMkLst>
        </pc:spChg>
        <pc:spChg chg="del">
          <ac:chgData name="Rizky Fajar" userId="490a5c0ae4650a6d" providerId="LiveId" clId="{333143B3-B6CA-45C5-8061-3F03017FDB6D}" dt="2025-03-20T12:14:01.267" v="89" actId="478"/>
          <ac:spMkLst>
            <pc:docMk/>
            <pc:sldMk cId="478176969" sldId="4043"/>
            <ac:spMk id="13" creationId="{CEAB9ECF-E7D9-682B-CCD8-9E5745D0CE01}"/>
          </ac:spMkLst>
        </pc:spChg>
        <pc:spChg chg="mod">
          <ac:chgData name="Rizky Fajar" userId="490a5c0ae4650a6d" providerId="LiveId" clId="{333143B3-B6CA-45C5-8061-3F03017FDB6D}" dt="2025-03-20T14:59:13.432" v="3885" actId="1076"/>
          <ac:spMkLst>
            <pc:docMk/>
            <pc:sldMk cId="478176969" sldId="4043"/>
            <ac:spMk id="14" creationId="{A2DA0E0A-9C06-96D1-6BD3-FF5697999CCD}"/>
          </ac:spMkLst>
        </pc:spChg>
        <pc:spChg chg="add mod">
          <ac:chgData name="Rizky Fajar" userId="490a5c0ae4650a6d" providerId="LiveId" clId="{333143B3-B6CA-45C5-8061-3F03017FDB6D}" dt="2025-03-20T12:15:43.042" v="246"/>
          <ac:spMkLst>
            <pc:docMk/>
            <pc:sldMk cId="478176969" sldId="4043"/>
            <ac:spMk id="15" creationId="{D94CEA9E-CD91-3A9E-6A54-12784CF44C5B}"/>
          </ac:spMkLst>
        </pc:spChg>
        <pc:spChg chg="add mod">
          <ac:chgData name="Rizky Fajar" userId="490a5c0ae4650a6d" providerId="LiveId" clId="{333143B3-B6CA-45C5-8061-3F03017FDB6D}" dt="2025-03-20T14:59:13.432" v="3885" actId="1076"/>
          <ac:spMkLst>
            <pc:docMk/>
            <pc:sldMk cId="478176969" sldId="4043"/>
            <ac:spMk id="16" creationId="{070D647C-3060-70D4-8235-0F307B3AE5A5}"/>
          </ac:spMkLst>
        </pc:spChg>
        <pc:spChg chg="mod">
          <ac:chgData name="Rizky Fajar" userId="490a5c0ae4650a6d" providerId="LiveId" clId="{333143B3-B6CA-45C5-8061-3F03017FDB6D}" dt="2025-03-20T14:59:13.432" v="3885" actId="1076"/>
          <ac:spMkLst>
            <pc:docMk/>
            <pc:sldMk cId="478176969" sldId="4043"/>
            <ac:spMk id="17" creationId="{54ACE69C-B8F1-453C-63F1-D7ED8056383C}"/>
          </ac:spMkLst>
        </pc:spChg>
        <pc:spChg chg="mod">
          <ac:chgData name="Rizky Fajar" userId="490a5c0ae4650a6d" providerId="LiveId" clId="{333143B3-B6CA-45C5-8061-3F03017FDB6D}" dt="2025-03-20T14:59:13.432" v="3885" actId="1076"/>
          <ac:spMkLst>
            <pc:docMk/>
            <pc:sldMk cId="478176969" sldId="4043"/>
            <ac:spMk id="18" creationId="{DDD3C425-AF4C-CA7F-112C-47CB2FD330C1}"/>
          </ac:spMkLst>
        </pc:spChg>
        <pc:spChg chg="mod">
          <ac:chgData name="Rizky Fajar" userId="490a5c0ae4650a6d" providerId="LiveId" clId="{333143B3-B6CA-45C5-8061-3F03017FDB6D}" dt="2025-03-20T14:59:13.432" v="3885" actId="1076"/>
          <ac:spMkLst>
            <pc:docMk/>
            <pc:sldMk cId="478176969" sldId="4043"/>
            <ac:spMk id="19" creationId="{558A4831-9A21-5A61-7F55-0F7CDDA6B87A}"/>
          </ac:spMkLst>
        </pc:spChg>
        <pc:spChg chg="add mod">
          <ac:chgData name="Rizky Fajar" userId="490a5c0ae4650a6d" providerId="LiveId" clId="{333143B3-B6CA-45C5-8061-3F03017FDB6D}" dt="2025-03-20T14:59:13.432" v="3885" actId="1076"/>
          <ac:spMkLst>
            <pc:docMk/>
            <pc:sldMk cId="478176969" sldId="4043"/>
            <ac:spMk id="20" creationId="{79E3D37B-7571-323D-FA82-962869334D8A}"/>
          </ac:spMkLst>
        </pc:spChg>
        <pc:grpChg chg="del">
          <ac:chgData name="Rizky Fajar" userId="490a5c0ae4650a6d" providerId="LiveId" clId="{333143B3-B6CA-45C5-8061-3F03017FDB6D}" dt="2025-03-20T14:24:57.488" v="3221" actId="478"/>
          <ac:grpSpMkLst>
            <pc:docMk/>
            <pc:sldMk cId="478176969" sldId="4043"/>
            <ac:grpSpMk id="4" creationId="{F48145ED-73A1-1FC0-758A-D14022E2A8C4}"/>
          </ac:grpSpMkLst>
        </pc:grpChg>
        <pc:picChg chg="add del mod">
          <ac:chgData name="Rizky Fajar" userId="490a5c0ae4650a6d" providerId="LiveId" clId="{333143B3-B6CA-45C5-8061-3F03017FDB6D}" dt="2025-03-20T14:24:41.851" v="3220" actId="478"/>
          <ac:picMkLst>
            <pc:docMk/>
            <pc:sldMk cId="478176969" sldId="4043"/>
            <ac:picMk id="21" creationId="{17041F94-36C6-3C84-A021-8A3130FA7D28}"/>
          </ac:picMkLst>
        </pc:picChg>
        <pc:cxnChg chg="mod">
          <ac:chgData name="Rizky Fajar" userId="490a5c0ae4650a6d" providerId="LiveId" clId="{333143B3-B6CA-45C5-8061-3F03017FDB6D}" dt="2025-03-20T12:14:51.985" v="146" actId="1037"/>
          <ac:cxnSpMkLst>
            <pc:docMk/>
            <pc:sldMk cId="478176969" sldId="4043"/>
            <ac:cxnSpMk id="11" creationId="{7839C323-8E68-221C-9B53-25970E011C66}"/>
          </ac:cxnSpMkLst>
        </pc:cxnChg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355681110" sldId="4071"/>
        </pc:sldMkLst>
      </pc:sldChg>
      <pc:sldChg chg="addSp delSp modSp mod">
        <pc:chgData name="Rizky Fajar" userId="490a5c0ae4650a6d" providerId="LiveId" clId="{333143B3-B6CA-45C5-8061-3F03017FDB6D}" dt="2025-03-20T12:49:53.490" v="2618" actId="207"/>
        <pc:sldMkLst>
          <pc:docMk/>
          <pc:sldMk cId="2166661068" sldId="4073"/>
        </pc:sldMkLst>
        <pc:spChg chg="del">
          <ac:chgData name="Rizky Fajar" userId="490a5c0ae4650a6d" providerId="LiveId" clId="{333143B3-B6CA-45C5-8061-3F03017FDB6D}" dt="2025-03-20T12:17:32.645" v="394" actId="478"/>
          <ac:spMkLst>
            <pc:docMk/>
            <pc:sldMk cId="2166661068" sldId="4073"/>
            <ac:spMk id="2" creationId="{E19513A0-BF93-7437-37F2-B1089CD10640}"/>
          </ac:spMkLst>
        </pc:spChg>
        <pc:spChg chg="add mod ord">
          <ac:chgData name="Rizky Fajar" userId="490a5c0ae4650a6d" providerId="LiveId" clId="{333143B3-B6CA-45C5-8061-3F03017FDB6D}" dt="2025-03-20T12:49:53.490" v="2618" actId="207"/>
          <ac:spMkLst>
            <pc:docMk/>
            <pc:sldMk cId="2166661068" sldId="4073"/>
            <ac:spMk id="3" creationId="{4359F663-E7BE-B2DC-ABEE-5FF7D18EF7E0}"/>
          </ac:spMkLst>
        </pc:spChg>
        <pc:spChg chg="mod">
          <ac:chgData name="Rizky Fajar" userId="490a5c0ae4650a6d" providerId="LiveId" clId="{333143B3-B6CA-45C5-8061-3F03017FDB6D}" dt="2025-03-20T12:17:13.551" v="393" actId="20577"/>
          <ac:spMkLst>
            <pc:docMk/>
            <pc:sldMk cId="2166661068" sldId="4073"/>
            <ac:spMk id="5" creationId="{0D81CA75-2690-EB8E-B2B3-633F9A963DD7}"/>
          </ac:spMkLst>
        </pc:spChg>
        <pc:spChg chg="mod">
          <ac:chgData name="Rizky Fajar" userId="490a5c0ae4650a6d" providerId="LiveId" clId="{333143B3-B6CA-45C5-8061-3F03017FDB6D}" dt="2025-03-20T12:49:28.182" v="2616" actId="207"/>
          <ac:spMkLst>
            <pc:docMk/>
            <pc:sldMk cId="2166661068" sldId="4073"/>
            <ac:spMk id="10" creationId="{CE3085B4-D678-E122-C415-ED697AC5FC39}"/>
          </ac:spMkLst>
        </pc:spChg>
      </pc:sldChg>
      <pc:sldChg chg="addSp delSp modSp add del mod ord setBg modShow">
        <pc:chgData name="Rizky Fajar" userId="490a5c0ae4650a6d" providerId="LiveId" clId="{333143B3-B6CA-45C5-8061-3F03017FDB6D}" dt="2025-03-20T14:58:42.668" v="3877" actId="729"/>
        <pc:sldMkLst>
          <pc:docMk/>
          <pc:sldMk cId="3906089006" sldId="4074"/>
        </pc:sldMkLst>
        <pc:spChg chg="mod">
          <ac:chgData name="Rizky Fajar" userId="490a5c0ae4650a6d" providerId="LiveId" clId="{333143B3-B6CA-45C5-8061-3F03017FDB6D}" dt="2025-03-20T12:26:33.947" v="842" actId="207"/>
          <ac:spMkLst>
            <pc:docMk/>
            <pc:sldMk cId="3906089006" sldId="4074"/>
            <ac:spMk id="5" creationId="{019A30BC-2660-93E3-BC9C-BABC4AAE0678}"/>
          </ac:spMkLst>
        </pc:spChg>
        <pc:spChg chg="mod">
          <ac:chgData name="Rizky Fajar" userId="490a5c0ae4650a6d" providerId="LiveId" clId="{333143B3-B6CA-45C5-8061-3F03017FDB6D}" dt="2025-03-20T12:26:33.947" v="842" actId="207"/>
          <ac:spMkLst>
            <pc:docMk/>
            <pc:sldMk cId="3906089006" sldId="4074"/>
            <ac:spMk id="6" creationId="{46522AC0-7F2A-5832-B00B-2E227F7DD043}"/>
          </ac:spMkLst>
        </pc:spChg>
        <pc:spChg chg="mod">
          <ac:chgData name="Rizky Fajar" userId="490a5c0ae4650a6d" providerId="LiveId" clId="{333143B3-B6CA-45C5-8061-3F03017FDB6D}" dt="2025-03-20T12:47:06.230" v="2586" actId="207"/>
          <ac:spMkLst>
            <pc:docMk/>
            <pc:sldMk cId="3906089006" sldId="4074"/>
            <ac:spMk id="7" creationId="{E980650F-C064-FE8D-640F-8A1ABF5CE64D}"/>
          </ac:spMkLst>
        </pc:spChg>
        <pc:spChg chg="mod">
          <ac:chgData name="Rizky Fajar" userId="490a5c0ae4650a6d" providerId="LiveId" clId="{333143B3-B6CA-45C5-8061-3F03017FDB6D}" dt="2025-03-20T12:26:33.947" v="842" actId="207"/>
          <ac:spMkLst>
            <pc:docMk/>
            <pc:sldMk cId="3906089006" sldId="4074"/>
            <ac:spMk id="8" creationId="{25964C00-A3A8-7DE8-530D-47E9FE51EE2C}"/>
          </ac:spMkLst>
        </pc:spChg>
        <pc:spChg chg="del">
          <ac:chgData name="Rizky Fajar" userId="490a5c0ae4650a6d" providerId="LiveId" clId="{333143B3-B6CA-45C5-8061-3F03017FDB6D}" dt="2025-03-20T12:45:51.366" v="2559" actId="478"/>
          <ac:spMkLst>
            <pc:docMk/>
            <pc:sldMk cId="3906089006" sldId="4074"/>
            <ac:spMk id="12" creationId="{826F4638-3F93-035E-75B6-A536D1E40729}"/>
          </ac:spMkLst>
        </pc:spChg>
        <pc:spChg chg="mod">
          <ac:chgData name="Rizky Fajar" userId="490a5c0ae4650a6d" providerId="LiveId" clId="{333143B3-B6CA-45C5-8061-3F03017FDB6D}" dt="2025-03-20T12:47:32.335" v="2596" actId="207"/>
          <ac:spMkLst>
            <pc:docMk/>
            <pc:sldMk cId="3906089006" sldId="4074"/>
            <ac:spMk id="13" creationId="{9010127A-0F30-1542-DF37-A06C740AD76F}"/>
          </ac:spMkLst>
        </pc:spChg>
        <pc:spChg chg="add mod">
          <ac:chgData name="Rizky Fajar" userId="490a5c0ae4650a6d" providerId="LiveId" clId="{333143B3-B6CA-45C5-8061-3F03017FDB6D}" dt="2025-03-20T12:47:08.557" v="2587" actId="207"/>
          <ac:spMkLst>
            <pc:docMk/>
            <pc:sldMk cId="3906089006" sldId="4074"/>
            <ac:spMk id="14" creationId="{E6DF02E7-1FCD-70EA-DDBF-0D2258FBD038}"/>
          </ac:spMkLst>
        </pc:spChg>
        <pc:spChg chg="add del mod">
          <ac:chgData name="Rizky Fajar" userId="490a5c0ae4650a6d" providerId="LiveId" clId="{333143B3-B6CA-45C5-8061-3F03017FDB6D}" dt="2025-03-20T12:39:34.554" v="1682" actId="478"/>
          <ac:spMkLst>
            <pc:docMk/>
            <pc:sldMk cId="3906089006" sldId="4074"/>
            <ac:spMk id="15" creationId="{1384A336-1740-8652-416B-F53A20725CCD}"/>
          </ac:spMkLst>
        </pc:spChg>
        <pc:spChg chg="add mod">
          <ac:chgData name="Rizky Fajar" userId="490a5c0ae4650a6d" providerId="LiveId" clId="{333143B3-B6CA-45C5-8061-3F03017FDB6D}" dt="2025-03-20T12:46:22.982" v="2565" actId="1076"/>
          <ac:spMkLst>
            <pc:docMk/>
            <pc:sldMk cId="3906089006" sldId="4074"/>
            <ac:spMk id="18" creationId="{2D3B0FB5-7A2E-C06F-2267-4582D17973F9}"/>
          </ac:spMkLst>
        </pc:spChg>
        <pc:spChg chg="del mod">
          <ac:chgData name="Rizky Fajar" userId="490a5c0ae4650a6d" providerId="LiveId" clId="{333143B3-B6CA-45C5-8061-3F03017FDB6D}" dt="2025-03-20T12:30:13.691" v="1071" actId="478"/>
          <ac:spMkLst>
            <pc:docMk/>
            <pc:sldMk cId="3906089006" sldId="4074"/>
            <ac:spMk id="19" creationId="{F5BBD55D-E312-F662-BA7F-D0C6996ED888}"/>
          </ac:spMkLst>
        </pc:spChg>
        <pc:spChg chg="del">
          <ac:chgData name="Rizky Fajar" userId="490a5c0ae4650a6d" providerId="LiveId" clId="{333143B3-B6CA-45C5-8061-3F03017FDB6D}" dt="2025-03-20T12:23:06.245" v="831" actId="478"/>
          <ac:spMkLst>
            <pc:docMk/>
            <pc:sldMk cId="3906089006" sldId="4074"/>
            <ac:spMk id="22" creationId="{A72EE4F8-8584-B84E-6546-56D031116F56}"/>
          </ac:spMkLst>
        </pc:spChg>
        <pc:spChg chg="add mod">
          <ac:chgData name="Rizky Fajar" userId="490a5c0ae4650a6d" providerId="LiveId" clId="{333143B3-B6CA-45C5-8061-3F03017FDB6D}" dt="2025-03-20T12:46:22.982" v="2565" actId="1076"/>
          <ac:spMkLst>
            <pc:docMk/>
            <pc:sldMk cId="3906089006" sldId="4074"/>
            <ac:spMk id="23" creationId="{D3A24DE1-7AC3-4EA2-F109-4C10DAF003B7}"/>
          </ac:spMkLst>
        </pc:spChg>
        <pc:spChg chg="mod">
          <ac:chgData name="Rizky Fajar" userId="490a5c0ae4650a6d" providerId="LiveId" clId="{333143B3-B6CA-45C5-8061-3F03017FDB6D}" dt="2025-03-20T12:47:57.362" v="2601" actId="403"/>
          <ac:spMkLst>
            <pc:docMk/>
            <pc:sldMk cId="3906089006" sldId="4074"/>
            <ac:spMk id="24" creationId="{33B620E1-E639-06AB-A8D6-9E7D11E66101}"/>
          </ac:spMkLst>
        </pc:spChg>
        <pc:spChg chg="add mod">
          <ac:chgData name="Rizky Fajar" userId="490a5c0ae4650a6d" providerId="LiveId" clId="{333143B3-B6CA-45C5-8061-3F03017FDB6D}" dt="2025-03-20T12:48:16.708" v="2602" actId="14100"/>
          <ac:spMkLst>
            <pc:docMk/>
            <pc:sldMk cId="3906089006" sldId="4074"/>
            <ac:spMk id="25" creationId="{1BD03B74-4062-2765-5B27-6FD56F428AE4}"/>
          </ac:spMkLst>
        </pc:spChg>
        <pc:spChg chg="add mod">
          <ac:chgData name="Rizky Fajar" userId="490a5c0ae4650a6d" providerId="LiveId" clId="{333143B3-B6CA-45C5-8061-3F03017FDB6D}" dt="2025-03-20T12:47:10.849" v="2588" actId="207"/>
          <ac:spMkLst>
            <pc:docMk/>
            <pc:sldMk cId="3906089006" sldId="4074"/>
            <ac:spMk id="26" creationId="{F7B8254F-AD18-31E7-7DD4-0E0DBFF50C6C}"/>
          </ac:spMkLst>
        </pc:spChg>
        <pc:spChg chg="del mod">
          <ac:chgData name="Rizky Fajar" userId="490a5c0ae4650a6d" providerId="LiveId" clId="{333143B3-B6CA-45C5-8061-3F03017FDB6D}" dt="2025-03-20T12:30:39.490" v="1072" actId="478"/>
          <ac:spMkLst>
            <pc:docMk/>
            <pc:sldMk cId="3906089006" sldId="4074"/>
            <ac:spMk id="28" creationId="{CA038FBA-8ED5-4DB9-A6EA-65529F86F6FF}"/>
          </ac:spMkLst>
        </pc:spChg>
        <pc:spChg chg="add mod">
          <ac:chgData name="Rizky Fajar" userId="490a5c0ae4650a6d" providerId="LiveId" clId="{333143B3-B6CA-45C5-8061-3F03017FDB6D}" dt="2025-03-20T12:42:18.361" v="2125" actId="571"/>
          <ac:spMkLst>
            <pc:docMk/>
            <pc:sldMk cId="3906089006" sldId="4074"/>
            <ac:spMk id="29" creationId="{39E63D85-C411-083D-24CC-565E8DAE5098}"/>
          </ac:spMkLst>
        </pc:spChg>
        <pc:spChg chg="add mod">
          <ac:chgData name="Rizky Fajar" userId="490a5c0ae4650a6d" providerId="LiveId" clId="{333143B3-B6CA-45C5-8061-3F03017FDB6D}" dt="2025-03-20T12:43:42.206" v="2286" actId="20577"/>
          <ac:spMkLst>
            <pc:docMk/>
            <pc:sldMk cId="3906089006" sldId="4074"/>
            <ac:spMk id="30" creationId="{6D6D2FC1-5A29-13FB-38F0-19D082EF7CB5}"/>
          </ac:spMkLst>
        </pc:spChg>
        <pc:spChg chg="del">
          <ac:chgData name="Rizky Fajar" userId="490a5c0ae4650a6d" providerId="LiveId" clId="{333143B3-B6CA-45C5-8061-3F03017FDB6D}" dt="2025-03-20T12:23:10.157" v="834" actId="478"/>
          <ac:spMkLst>
            <pc:docMk/>
            <pc:sldMk cId="3906089006" sldId="4074"/>
            <ac:spMk id="33" creationId="{85D9E2BA-E1A5-5A80-5602-76DAF93A2768}"/>
          </ac:spMkLst>
        </pc:spChg>
        <pc:spChg chg="add mod">
          <ac:chgData name="Rizky Fajar" userId="490a5c0ae4650a6d" providerId="LiveId" clId="{333143B3-B6CA-45C5-8061-3F03017FDB6D}" dt="2025-03-20T12:47:41.734" v="2600" actId="207"/>
          <ac:spMkLst>
            <pc:docMk/>
            <pc:sldMk cId="3906089006" sldId="4074"/>
            <ac:spMk id="34" creationId="{1F6DADC6-7F50-FBA6-5F10-FBF66F12F6B6}"/>
          </ac:spMkLst>
        </pc:spChg>
        <pc:spChg chg="del mod">
          <ac:chgData name="Rizky Fajar" userId="490a5c0ae4650a6d" providerId="LiveId" clId="{333143B3-B6CA-45C5-8061-3F03017FDB6D}" dt="2025-03-20T12:23:13.287" v="838" actId="478"/>
          <ac:spMkLst>
            <pc:docMk/>
            <pc:sldMk cId="3906089006" sldId="4074"/>
            <ac:spMk id="37" creationId="{D1F374E2-108D-67B8-2CA5-0B0808AE619C}"/>
          </ac:spMkLst>
        </pc:spChg>
        <pc:spChg chg="del">
          <ac:chgData name="Rizky Fajar" userId="490a5c0ae4650a6d" providerId="LiveId" clId="{333143B3-B6CA-45C5-8061-3F03017FDB6D}" dt="2025-03-20T12:23:14.053" v="839" actId="478"/>
          <ac:spMkLst>
            <pc:docMk/>
            <pc:sldMk cId="3906089006" sldId="4074"/>
            <ac:spMk id="38" creationId="{950D0A4A-68FC-6A0F-4DD8-96A51BFC3526}"/>
          </ac:spMkLst>
        </pc:spChg>
        <pc:spChg chg="mod">
          <ac:chgData name="Rizky Fajar" userId="490a5c0ae4650a6d" providerId="LiveId" clId="{333143B3-B6CA-45C5-8061-3F03017FDB6D}" dt="2025-03-20T12:30:43.249" v="1074" actId="1076"/>
          <ac:spMkLst>
            <pc:docMk/>
            <pc:sldMk cId="3906089006" sldId="4074"/>
            <ac:spMk id="39" creationId="{A48FEFC8-F9A5-E7D4-E986-C0820BBBF69F}"/>
          </ac:spMkLst>
        </pc:spChg>
        <pc:spChg chg="mod">
          <ac:chgData name="Rizky Fajar" userId="490a5c0ae4650a6d" providerId="LiveId" clId="{333143B3-B6CA-45C5-8061-3F03017FDB6D}" dt="2025-03-20T12:30:43.249" v="1074" actId="1076"/>
          <ac:spMkLst>
            <pc:docMk/>
            <pc:sldMk cId="3906089006" sldId="4074"/>
            <ac:spMk id="40" creationId="{125EB049-3987-AECA-3103-47D552E85014}"/>
          </ac:spMkLst>
        </pc:spChg>
        <pc:spChg chg="mod">
          <ac:chgData name="Rizky Fajar" userId="490a5c0ae4650a6d" providerId="LiveId" clId="{333143B3-B6CA-45C5-8061-3F03017FDB6D}" dt="2025-03-20T12:45:46.118" v="2558"/>
          <ac:spMkLst>
            <pc:docMk/>
            <pc:sldMk cId="3906089006" sldId="4074"/>
            <ac:spMk id="41" creationId="{28B366DF-BE0D-B2AA-572C-8FE3D25E8F8A}"/>
          </ac:spMkLst>
        </pc:spChg>
        <pc:spChg chg="mod">
          <ac:chgData name="Rizky Fajar" userId="490a5c0ae4650a6d" providerId="LiveId" clId="{333143B3-B6CA-45C5-8061-3F03017FDB6D}" dt="2025-03-20T12:45:46.118" v="2558"/>
          <ac:spMkLst>
            <pc:docMk/>
            <pc:sldMk cId="3906089006" sldId="4074"/>
            <ac:spMk id="42" creationId="{7FE35981-A80C-3F39-0EEA-EF64F9794A5C}"/>
          </ac:spMkLst>
        </pc:spChg>
        <pc:spChg chg="del mod">
          <ac:chgData name="Rizky Fajar" userId="490a5c0ae4650a6d" providerId="LiveId" clId="{333143B3-B6CA-45C5-8061-3F03017FDB6D}" dt="2025-03-20T12:30:13.691" v="1071" actId="478"/>
          <ac:spMkLst>
            <pc:docMk/>
            <pc:sldMk cId="3906089006" sldId="4074"/>
            <ac:spMk id="45" creationId="{E32AFAB1-EB8E-2083-FF5E-1D64F4BC8E89}"/>
          </ac:spMkLst>
        </pc:spChg>
        <pc:spChg chg="del">
          <ac:chgData name="Rizky Fajar" userId="490a5c0ae4650a6d" providerId="LiveId" clId="{333143B3-B6CA-45C5-8061-3F03017FDB6D}" dt="2025-03-20T12:30:13.691" v="1071" actId="478"/>
          <ac:spMkLst>
            <pc:docMk/>
            <pc:sldMk cId="3906089006" sldId="4074"/>
            <ac:spMk id="46" creationId="{8170A626-96D3-D3A2-564C-687DEB7AB851}"/>
          </ac:spMkLst>
        </pc:spChg>
        <pc:spChg chg="del mod">
          <ac:chgData name="Rizky Fajar" userId="490a5c0ae4650a6d" providerId="LiveId" clId="{333143B3-B6CA-45C5-8061-3F03017FDB6D}" dt="2025-03-20T12:30:13.691" v="1071" actId="478"/>
          <ac:spMkLst>
            <pc:docMk/>
            <pc:sldMk cId="3906089006" sldId="4074"/>
            <ac:spMk id="47" creationId="{5BD9121E-86EC-C47A-F7CF-16522BC0C7DF}"/>
          </ac:spMkLst>
        </pc:spChg>
        <pc:spChg chg="add mod">
          <ac:chgData name="Rizky Fajar" userId="490a5c0ae4650a6d" providerId="LiveId" clId="{333143B3-B6CA-45C5-8061-3F03017FDB6D}" dt="2025-03-20T12:45:51.524" v="2560"/>
          <ac:spMkLst>
            <pc:docMk/>
            <pc:sldMk cId="3906089006" sldId="4074"/>
            <ac:spMk id="48" creationId="{9CB7A447-8605-2D29-3038-689CDF71A8C8}"/>
          </ac:spMkLst>
        </pc:spChg>
        <pc:spChg chg="del">
          <ac:chgData name="Rizky Fajar" userId="490a5c0ae4650a6d" providerId="LiveId" clId="{333143B3-B6CA-45C5-8061-3F03017FDB6D}" dt="2025-03-20T12:23:07.309" v="832" actId="478"/>
          <ac:spMkLst>
            <pc:docMk/>
            <pc:sldMk cId="3906089006" sldId="4074"/>
            <ac:spMk id="49" creationId="{4F6122E7-981F-3D15-93E0-4CBB974F38BF}"/>
          </ac:spMkLst>
        </pc:spChg>
        <pc:spChg chg="mod">
          <ac:chgData name="Rizky Fajar" userId="490a5c0ae4650a6d" providerId="LiveId" clId="{333143B3-B6CA-45C5-8061-3F03017FDB6D}" dt="2025-03-20T12:45:59.271" v="2563"/>
          <ac:spMkLst>
            <pc:docMk/>
            <pc:sldMk cId="3906089006" sldId="4074"/>
            <ac:spMk id="51" creationId="{6136E0DB-74BB-EC05-BC7C-5CBD3CCE6ED9}"/>
          </ac:spMkLst>
        </pc:spChg>
        <pc:spChg chg="mod">
          <ac:chgData name="Rizky Fajar" userId="490a5c0ae4650a6d" providerId="LiveId" clId="{333143B3-B6CA-45C5-8061-3F03017FDB6D}" dt="2025-03-20T12:45:59.271" v="2563"/>
          <ac:spMkLst>
            <pc:docMk/>
            <pc:sldMk cId="3906089006" sldId="4074"/>
            <ac:spMk id="52" creationId="{F1EC1FB0-A8EE-A206-E870-E88BE8EA01B9}"/>
          </ac:spMkLst>
        </pc:spChg>
        <pc:spChg chg="del mod">
          <ac:chgData name="Rizky Fajar" userId="490a5c0ae4650a6d" providerId="LiveId" clId="{333143B3-B6CA-45C5-8061-3F03017FDB6D}" dt="2025-03-20T12:42:10.804" v="2123" actId="478"/>
          <ac:spMkLst>
            <pc:docMk/>
            <pc:sldMk cId="3906089006" sldId="4074"/>
            <ac:spMk id="55" creationId="{DC4FF63D-6F75-C4B4-F7B5-0D8E4375E33F}"/>
          </ac:spMkLst>
        </pc:spChg>
        <pc:grpChg chg="del">
          <ac:chgData name="Rizky Fajar" userId="490a5c0ae4650a6d" providerId="LiveId" clId="{333143B3-B6CA-45C5-8061-3F03017FDB6D}" dt="2025-03-20T12:45:45.901" v="2557" actId="478"/>
          <ac:grpSpMkLst>
            <pc:docMk/>
            <pc:sldMk cId="3906089006" sldId="4074"/>
            <ac:grpSpMk id="2" creationId="{1C03E608-0320-0CDF-1656-2D83AAEEC776}"/>
          </ac:grpSpMkLst>
        </pc:grpChg>
        <pc:grpChg chg="del">
          <ac:chgData name="Rizky Fajar" userId="490a5c0ae4650a6d" providerId="LiveId" clId="{333143B3-B6CA-45C5-8061-3F03017FDB6D}" dt="2025-03-20T12:45:59.067" v="2562" actId="478"/>
          <ac:grpSpMkLst>
            <pc:docMk/>
            <pc:sldMk cId="3906089006" sldId="4074"/>
            <ac:grpSpMk id="4" creationId="{5FC63DE0-043A-718F-EE34-1731A3A8E4D9}"/>
          </ac:grpSpMkLst>
        </pc:grpChg>
        <pc:grpChg chg="add mod">
          <ac:chgData name="Rizky Fajar" userId="490a5c0ae4650a6d" providerId="LiveId" clId="{333143B3-B6CA-45C5-8061-3F03017FDB6D}" dt="2025-03-20T12:45:46.118" v="2558"/>
          <ac:grpSpMkLst>
            <pc:docMk/>
            <pc:sldMk cId="3906089006" sldId="4074"/>
            <ac:grpSpMk id="36" creationId="{59CDD4E7-0FD1-3244-0257-30CA6568C466}"/>
          </ac:grpSpMkLst>
        </pc:grpChg>
        <pc:grpChg chg="add del mod">
          <ac:chgData name="Rizky Fajar" userId="490a5c0ae4650a6d" providerId="LiveId" clId="{333143B3-B6CA-45C5-8061-3F03017FDB6D}" dt="2025-03-20T14:24:59.727" v="3222" actId="478"/>
          <ac:grpSpMkLst>
            <pc:docMk/>
            <pc:sldMk cId="3906089006" sldId="4074"/>
            <ac:grpSpMk id="50" creationId="{1FAB0D6D-1D0B-C678-A35D-E561B7441E1A}"/>
          </ac:grpSpMkLst>
        </pc:grpChg>
        <pc:picChg chg="add del mod">
          <ac:chgData name="Rizky Fajar" userId="490a5c0ae4650a6d" providerId="LiveId" clId="{333143B3-B6CA-45C5-8061-3F03017FDB6D}" dt="2025-03-20T12:50:50.342" v="2675" actId="478"/>
          <ac:picMkLst>
            <pc:docMk/>
            <pc:sldMk cId="3906089006" sldId="4074"/>
            <ac:picMk id="10" creationId="{4E5A69B0-DED7-9D14-7853-75D5CB34FAC9}"/>
          </ac:picMkLst>
        </pc:picChg>
        <pc:picChg chg="del">
          <ac:chgData name="Rizky Fajar" userId="490a5c0ae4650a6d" providerId="LiveId" clId="{333143B3-B6CA-45C5-8061-3F03017FDB6D}" dt="2025-03-20T12:23:10.892" v="835" actId="478"/>
          <ac:picMkLst>
            <pc:docMk/>
            <pc:sldMk cId="3906089006" sldId="4074"/>
            <ac:picMk id="32" creationId="{70989FD3-ED1B-2473-2590-7A81430A6F5B}"/>
          </ac:picMkLst>
        </pc:picChg>
        <pc:picChg chg="del">
          <ac:chgData name="Rizky Fajar" userId="490a5c0ae4650a6d" providerId="LiveId" clId="{333143B3-B6CA-45C5-8061-3F03017FDB6D}" dt="2025-03-20T12:23:12.536" v="837" actId="478"/>
          <ac:picMkLst>
            <pc:docMk/>
            <pc:sldMk cId="3906089006" sldId="4074"/>
            <ac:picMk id="35" creationId="{549D656F-86B2-5B68-0F81-2D57ACCBE0C8}"/>
          </ac:picMkLst>
        </pc:picChg>
        <pc:cxnChg chg="mod">
          <ac:chgData name="Rizky Fajar" userId="490a5c0ae4650a6d" providerId="LiveId" clId="{333143B3-B6CA-45C5-8061-3F03017FDB6D}" dt="2025-03-20T12:46:53.975" v="2585" actId="1036"/>
          <ac:cxnSpMkLst>
            <pc:docMk/>
            <pc:sldMk cId="3906089006" sldId="4074"/>
            <ac:cxnSpMk id="16" creationId="{E742F3B3-31AF-FC14-CD7E-A38E95462EFE}"/>
          </ac:cxnSpMkLst>
        </pc:cxnChg>
        <pc:cxnChg chg="add mod">
          <ac:chgData name="Rizky Fajar" userId="490a5c0ae4650a6d" providerId="LiveId" clId="{333143B3-B6CA-45C5-8061-3F03017FDB6D}" dt="2025-03-20T12:46:22.982" v="2565" actId="1076"/>
          <ac:cxnSpMkLst>
            <pc:docMk/>
            <pc:sldMk cId="3906089006" sldId="4074"/>
            <ac:cxnSpMk id="17" creationId="{916217E2-B683-FDA2-69B6-EE1D822185BF}"/>
          </ac:cxnSpMkLst>
        </pc:cxnChg>
        <pc:cxnChg chg="del mod">
          <ac:chgData name="Rizky Fajar" userId="490a5c0ae4650a6d" providerId="LiveId" clId="{333143B3-B6CA-45C5-8061-3F03017FDB6D}" dt="2025-03-20T12:30:13.691" v="1071" actId="478"/>
          <ac:cxnSpMkLst>
            <pc:docMk/>
            <pc:sldMk cId="3906089006" sldId="4074"/>
            <ac:cxnSpMk id="20" creationId="{BD89EAF5-3209-1462-3ABF-44A56F347A04}"/>
          </ac:cxnSpMkLst>
        </pc:cxnChg>
        <pc:cxnChg chg="del">
          <ac:chgData name="Rizky Fajar" userId="490a5c0ae4650a6d" providerId="LiveId" clId="{333143B3-B6CA-45C5-8061-3F03017FDB6D}" dt="2025-03-20T12:23:15.258" v="840" actId="478"/>
          <ac:cxnSpMkLst>
            <pc:docMk/>
            <pc:sldMk cId="3906089006" sldId="4074"/>
            <ac:cxnSpMk id="21" creationId="{1CB77535-ADCB-3C56-9265-F0947D7FCE35}"/>
          </ac:cxnSpMkLst>
        </pc:cxnChg>
        <pc:cxnChg chg="add mod">
          <ac:chgData name="Rizky Fajar" userId="490a5c0ae4650a6d" providerId="LiveId" clId="{333143B3-B6CA-45C5-8061-3F03017FDB6D}" dt="2025-03-20T12:42:18.361" v="2125" actId="571"/>
          <ac:cxnSpMkLst>
            <pc:docMk/>
            <pc:sldMk cId="3906089006" sldId="4074"/>
            <ac:cxnSpMk id="27" creationId="{DB55D5EE-C14B-8280-42D6-44D06525E294}"/>
          </ac:cxnSpMkLst>
        </pc:cxnChg>
        <pc:cxnChg chg="del">
          <ac:chgData name="Rizky Fajar" userId="490a5c0ae4650a6d" providerId="LiveId" clId="{333143B3-B6CA-45C5-8061-3F03017FDB6D}" dt="2025-03-20T12:23:07.653" v="833" actId="478"/>
          <ac:cxnSpMkLst>
            <pc:docMk/>
            <pc:sldMk cId="3906089006" sldId="4074"/>
            <ac:cxnSpMk id="31" creationId="{E2E28941-9065-49DC-ED64-30C3328DC6CD}"/>
          </ac:cxnSpMkLst>
        </pc:cxnChg>
        <pc:cxnChg chg="mod">
          <ac:chgData name="Rizky Fajar" userId="490a5c0ae4650a6d" providerId="LiveId" clId="{333143B3-B6CA-45C5-8061-3F03017FDB6D}" dt="2025-03-20T12:45:46.118" v="2558"/>
          <ac:cxnSpMkLst>
            <pc:docMk/>
            <pc:sldMk cId="3906089006" sldId="4074"/>
            <ac:cxnSpMk id="43" creationId="{FD7EB649-3BD5-C8E6-C3FC-62FD57605181}"/>
          </ac:cxnSpMkLst>
        </pc:cxnChg>
        <pc:cxnChg chg="mod">
          <ac:chgData name="Rizky Fajar" userId="490a5c0ae4650a6d" providerId="LiveId" clId="{333143B3-B6CA-45C5-8061-3F03017FDB6D}" dt="2025-03-20T12:30:43.249" v="1074" actId="1076"/>
          <ac:cxnSpMkLst>
            <pc:docMk/>
            <pc:sldMk cId="3906089006" sldId="4074"/>
            <ac:cxnSpMk id="44" creationId="{3BDA04EE-EAF5-1985-1D12-4F4333D42212}"/>
          </ac:cxnSpMkLst>
        </pc:cxnChg>
        <pc:cxnChg chg="add mod">
          <ac:chgData name="Rizky Fajar" userId="490a5c0ae4650a6d" providerId="LiveId" clId="{333143B3-B6CA-45C5-8061-3F03017FDB6D}" dt="2025-03-20T12:46:38.714" v="2568" actId="14100"/>
          <ac:cxnSpMkLst>
            <pc:docMk/>
            <pc:sldMk cId="3906089006" sldId="4074"/>
            <ac:cxnSpMk id="53" creationId="{860AD75D-5D6D-9C57-1198-B73C6C439AED}"/>
          </ac:cxnSpMkLst>
        </pc:cxnChg>
        <pc:cxnChg chg="add mod">
          <ac:chgData name="Rizky Fajar" userId="490a5c0ae4650a6d" providerId="LiveId" clId="{333143B3-B6CA-45C5-8061-3F03017FDB6D}" dt="2025-03-20T12:46:43.468" v="2576" actId="1038"/>
          <ac:cxnSpMkLst>
            <pc:docMk/>
            <pc:sldMk cId="3906089006" sldId="4074"/>
            <ac:cxnSpMk id="56" creationId="{7572E720-C952-0904-E33E-66936525447E}"/>
          </ac:cxnSpMkLst>
        </pc:cxnChg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704571891" sldId="4081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1728683986" sldId="4082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3289195861" sldId="4083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2591432972" sldId="4084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2802894260" sldId="4085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4039427518" sldId="4086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534624752" sldId="4087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400687406" sldId="4088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1751282843" sldId="4089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4003855125" sldId="4090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724972836" sldId="4091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353997096" sldId="4092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1068833788" sldId="4093"/>
        </pc:sldMkLst>
      </pc:sldChg>
      <pc:sldChg chg="mod modShow">
        <pc:chgData name="Rizky Fajar" userId="490a5c0ae4650a6d" providerId="LiveId" clId="{333143B3-B6CA-45C5-8061-3F03017FDB6D}" dt="2025-03-20T14:25:31.898" v="3227" actId="729"/>
        <pc:sldMkLst>
          <pc:docMk/>
          <pc:sldMk cId="3383049272" sldId="4094"/>
        </pc:sldMkLst>
      </pc:sldChg>
      <pc:sldChg chg="addSp delSp modSp add mod ord modShow">
        <pc:chgData name="Rizky Fajar" userId="490a5c0ae4650a6d" providerId="LiveId" clId="{333143B3-B6CA-45C5-8061-3F03017FDB6D}" dt="2025-03-20T14:25:48.093" v="3230" actId="729"/>
        <pc:sldMkLst>
          <pc:docMk/>
          <pc:sldMk cId="1606790070" sldId="4095"/>
        </pc:sldMkLst>
        <pc:spChg chg="add del mod">
          <ac:chgData name="Rizky Fajar" userId="490a5c0ae4650a6d" providerId="LiveId" clId="{333143B3-B6CA-45C5-8061-3F03017FDB6D}" dt="2025-03-20T12:19:00.186" v="428" actId="478"/>
          <ac:spMkLst>
            <pc:docMk/>
            <pc:sldMk cId="1606790070" sldId="4095"/>
            <ac:spMk id="7" creationId="{F5A76681-9A7A-530F-AA6A-1608B10C45A2}"/>
          </ac:spMkLst>
        </pc:spChg>
        <pc:spChg chg="del">
          <ac:chgData name="Rizky Fajar" userId="490a5c0ae4650a6d" providerId="LiveId" clId="{333143B3-B6CA-45C5-8061-3F03017FDB6D}" dt="2025-03-20T12:18:37.429" v="427" actId="478"/>
          <ac:spMkLst>
            <pc:docMk/>
            <pc:sldMk cId="1606790070" sldId="4095"/>
            <ac:spMk id="9" creationId="{B14EDF3B-12F1-5A1D-DA63-55E7281FCD59}"/>
          </ac:spMkLst>
        </pc:spChg>
        <pc:spChg chg="del">
          <ac:chgData name="Rizky Fajar" userId="490a5c0ae4650a6d" providerId="LiveId" clId="{333143B3-B6CA-45C5-8061-3F03017FDB6D}" dt="2025-03-20T12:18:37.429" v="427" actId="478"/>
          <ac:spMkLst>
            <pc:docMk/>
            <pc:sldMk cId="1606790070" sldId="4095"/>
            <ac:spMk id="10" creationId="{0C41759E-66C4-B6B4-A4FB-CFD1AF395A0C}"/>
          </ac:spMkLst>
        </pc:spChg>
        <pc:spChg chg="add del mod">
          <ac:chgData name="Rizky Fajar" userId="490a5c0ae4650a6d" providerId="LiveId" clId="{333143B3-B6CA-45C5-8061-3F03017FDB6D}" dt="2025-03-20T12:53:40.524" v="2799" actId="478"/>
          <ac:spMkLst>
            <pc:docMk/>
            <pc:sldMk cId="1606790070" sldId="4095"/>
            <ac:spMk id="13" creationId="{6D4D8BCC-D814-22BD-8211-E32BAB4C8606}"/>
          </ac:spMkLst>
        </pc:spChg>
        <pc:spChg chg="del">
          <ac:chgData name="Rizky Fajar" userId="490a5c0ae4650a6d" providerId="LiveId" clId="{333143B3-B6CA-45C5-8061-3F03017FDB6D}" dt="2025-03-20T12:18:37.429" v="427" actId="478"/>
          <ac:spMkLst>
            <pc:docMk/>
            <pc:sldMk cId="1606790070" sldId="4095"/>
            <ac:spMk id="14" creationId="{DCD4758C-396B-7DB9-BAEE-E24EA950BD83}"/>
          </ac:spMkLst>
        </pc:spChg>
        <pc:spChg chg="add mod">
          <ac:chgData name="Rizky Fajar" userId="490a5c0ae4650a6d" providerId="LiveId" clId="{333143B3-B6CA-45C5-8061-3F03017FDB6D}" dt="2025-03-20T12:54:36.832" v="3024" actId="20577"/>
          <ac:spMkLst>
            <pc:docMk/>
            <pc:sldMk cId="1606790070" sldId="4095"/>
            <ac:spMk id="15" creationId="{20F83DF1-6B0C-5879-AF28-1E3C3EED2E91}"/>
          </ac:spMkLst>
        </pc:spChg>
        <pc:spChg chg="del">
          <ac:chgData name="Rizky Fajar" userId="490a5c0ae4650a6d" providerId="LiveId" clId="{333143B3-B6CA-45C5-8061-3F03017FDB6D}" dt="2025-03-20T12:18:37.429" v="427" actId="478"/>
          <ac:spMkLst>
            <pc:docMk/>
            <pc:sldMk cId="1606790070" sldId="4095"/>
            <ac:spMk id="17" creationId="{87B51F21-B9E1-B6D9-1B50-7036844468CE}"/>
          </ac:spMkLst>
        </pc:spChg>
        <pc:spChg chg="del">
          <ac:chgData name="Rizky Fajar" userId="490a5c0ae4650a6d" providerId="LiveId" clId="{333143B3-B6CA-45C5-8061-3F03017FDB6D}" dt="2025-03-20T12:18:37.429" v="427" actId="478"/>
          <ac:spMkLst>
            <pc:docMk/>
            <pc:sldMk cId="1606790070" sldId="4095"/>
            <ac:spMk id="18" creationId="{5136024C-66FC-5593-5CB2-4B43D0183567}"/>
          </ac:spMkLst>
        </pc:spChg>
        <pc:spChg chg="del">
          <ac:chgData name="Rizky Fajar" userId="490a5c0ae4650a6d" providerId="LiveId" clId="{333143B3-B6CA-45C5-8061-3F03017FDB6D}" dt="2025-03-20T12:18:37.429" v="427" actId="478"/>
          <ac:spMkLst>
            <pc:docMk/>
            <pc:sldMk cId="1606790070" sldId="4095"/>
            <ac:spMk id="19" creationId="{9CBC7EE8-7661-5866-A2EB-EEE5E299CBB9}"/>
          </ac:spMkLst>
        </pc:spChg>
        <pc:spChg chg="add mod">
          <ac:chgData name="Rizky Fajar" userId="490a5c0ae4650a6d" providerId="LiveId" clId="{333143B3-B6CA-45C5-8061-3F03017FDB6D}" dt="2025-03-20T13:00:36.582" v="3219" actId="20577"/>
          <ac:spMkLst>
            <pc:docMk/>
            <pc:sldMk cId="1606790070" sldId="4095"/>
            <ac:spMk id="20" creationId="{021558B2-9147-0531-6D5E-0DC09618557C}"/>
          </ac:spMkLst>
        </pc:spChg>
        <pc:spChg chg="del">
          <ac:chgData name="Rizky Fajar" userId="490a5c0ae4650a6d" providerId="LiveId" clId="{333143B3-B6CA-45C5-8061-3F03017FDB6D}" dt="2025-03-20T12:15:34.418" v="245" actId="478"/>
          <ac:spMkLst>
            <pc:docMk/>
            <pc:sldMk cId="1606790070" sldId="4095"/>
            <ac:spMk id="24" creationId="{01CC4A87-0301-153B-7F51-D4E7A6F23A83}"/>
          </ac:spMkLst>
        </pc:spChg>
        <pc:spChg chg="add mod">
          <ac:chgData name="Rizky Fajar" userId="490a5c0ae4650a6d" providerId="LiveId" clId="{333143B3-B6CA-45C5-8061-3F03017FDB6D}" dt="2025-03-20T12:58:55.327" v="3205" actId="1076"/>
          <ac:spMkLst>
            <pc:docMk/>
            <pc:sldMk cId="1606790070" sldId="4095"/>
            <ac:spMk id="27" creationId="{00837D53-27AC-6D8F-9B22-D8D0DC14B6A9}"/>
          </ac:spMkLst>
        </pc:spChg>
        <pc:grpChg chg="del">
          <ac:chgData name="Rizky Fajar" userId="490a5c0ae4650a6d" providerId="LiveId" clId="{333143B3-B6CA-45C5-8061-3F03017FDB6D}" dt="2025-03-20T14:25:02.279" v="3223" actId="478"/>
          <ac:grpSpMkLst>
            <pc:docMk/>
            <pc:sldMk cId="1606790070" sldId="4095"/>
            <ac:grpSpMk id="4" creationId="{C42540D3-6B6E-1082-BBEC-0EDC6B425FD8}"/>
          </ac:grpSpMkLst>
        </pc:grpChg>
        <pc:picChg chg="add del mod">
          <ac:chgData name="Rizky Fajar" userId="490a5c0ae4650a6d" providerId="LiveId" clId="{333143B3-B6CA-45C5-8061-3F03017FDB6D}" dt="2025-03-20T12:58:32.860" v="3196" actId="478"/>
          <ac:picMkLst>
            <pc:docMk/>
            <pc:sldMk cId="1606790070" sldId="4095"/>
            <ac:picMk id="22" creationId="{CCB61E36-BF88-A925-5AAA-A7885F78B9ED}"/>
          </ac:picMkLst>
        </pc:picChg>
        <pc:picChg chg="add del mod">
          <ac:chgData name="Rizky Fajar" userId="490a5c0ae4650a6d" providerId="LiveId" clId="{333143B3-B6CA-45C5-8061-3F03017FDB6D}" dt="2025-03-20T12:58:32.366" v="3195" actId="478"/>
          <ac:picMkLst>
            <pc:docMk/>
            <pc:sldMk cId="1606790070" sldId="4095"/>
            <ac:picMk id="25" creationId="{6B5B4334-DCAA-9E01-420A-8595A51B26E1}"/>
          </ac:picMkLst>
        </pc:picChg>
        <pc:cxnChg chg="add mod">
          <ac:chgData name="Rizky Fajar" userId="490a5c0ae4650a6d" providerId="LiveId" clId="{333143B3-B6CA-45C5-8061-3F03017FDB6D}" dt="2025-03-20T12:53:40.698" v="2800"/>
          <ac:cxnSpMkLst>
            <pc:docMk/>
            <pc:sldMk cId="1606790070" sldId="4095"/>
            <ac:cxnSpMk id="16" creationId="{D3638A0C-0DFE-528B-49EC-FC46480CB641}"/>
          </ac:cxnSpMkLst>
        </pc:cxnChg>
      </pc:sldChg>
      <pc:sldChg chg="modSp add mod ord">
        <pc:chgData name="Rizky Fajar" userId="490a5c0ae4650a6d" providerId="LiveId" clId="{333143B3-B6CA-45C5-8061-3F03017FDB6D}" dt="2025-03-20T14:37:27.622" v="3232"/>
        <pc:sldMkLst>
          <pc:docMk/>
          <pc:sldMk cId="3738483047" sldId="4096"/>
        </pc:sldMkLst>
        <pc:spChg chg="mod">
          <ac:chgData name="Rizky Fajar" userId="490a5c0ae4650a6d" providerId="LiveId" clId="{333143B3-B6CA-45C5-8061-3F03017FDB6D}" dt="2025-03-20T12:51:56.715" v="2798" actId="20577"/>
          <ac:spMkLst>
            <pc:docMk/>
            <pc:sldMk cId="3738483047" sldId="4096"/>
            <ac:spMk id="5" creationId="{46E26D2C-3071-5EF5-9AA2-9DB800FE4EA3}"/>
          </ac:spMkLst>
        </pc:spChg>
      </pc:sldChg>
      <pc:sldChg chg="new mod modShow">
        <pc:chgData name="Rizky Fajar" userId="490a5c0ae4650a6d" providerId="LiveId" clId="{333143B3-B6CA-45C5-8061-3F03017FDB6D}" dt="2025-03-20T14:25:31.898" v="3227" actId="729"/>
        <pc:sldMkLst>
          <pc:docMk/>
          <pc:sldMk cId="1318935118" sldId="4097"/>
        </pc:sldMkLst>
      </pc:sldChg>
      <pc:sldChg chg="modSp add mod">
        <pc:chgData name="Rizky Fajar" userId="490a5c0ae4650a6d" providerId="LiveId" clId="{333143B3-B6CA-45C5-8061-3F03017FDB6D}" dt="2025-03-20T14:59:40.922" v="3911" actId="20577"/>
        <pc:sldMkLst>
          <pc:docMk/>
          <pc:sldMk cId="1217427390" sldId="4098"/>
        </pc:sldMkLst>
        <pc:spChg chg="mod">
          <ac:chgData name="Rizky Fajar" userId="490a5c0ae4650a6d" providerId="LiveId" clId="{333143B3-B6CA-45C5-8061-3F03017FDB6D}" dt="2025-03-20T14:59:40.922" v="3911" actId="20577"/>
          <ac:spMkLst>
            <pc:docMk/>
            <pc:sldMk cId="1217427390" sldId="4098"/>
            <ac:spMk id="5" creationId="{3A776047-46AA-8B08-DCEA-779BF6ACF4D8}"/>
          </ac:spMkLst>
        </pc:spChg>
      </pc:sldChg>
      <pc:sldChg chg="addSp delSp modSp add del mod ord">
        <pc:chgData name="Rizky Fajar" userId="490a5c0ae4650a6d" providerId="LiveId" clId="{333143B3-B6CA-45C5-8061-3F03017FDB6D}" dt="2025-03-20T14:58:28.395" v="3870" actId="47"/>
        <pc:sldMkLst>
          <pc:docMk/>
          <pc:sldMk cId="3441880571" sldId="4098"/>
        </pc:sldMkLst>
        <pc:spChg chg="add del mod">
          <ac:chgData name="Rizky Fajar" userId="490a5c0ae4650a6d" providerId="LiveId" clId="{333143B3-B6CA-45C5-8061-3F03017FDB6D}" dt="2025-03-20T14:52:13.901" v="3421"/>
          <ac:spMkLst>
            <pc:docMk/>
            <pc:sldMk cId="3441880571" sldId="4098"/>
            <ac:spMk id="2" creationId="{328BDF2E-6253-0F6A-4EB1-61BB2EC93584}"/>
          </ac:spMkLst>
        </pc:spChg>
        <pc:spChg chg="add mod">
          <ac:chgData name="Rizky Fajar" userId="490a5c0ae4650a6d" providerId="LiveId" clId="{333143B3-B6CA-45C5-8061-3F03017FDB6D}" dt="2025-03-20T14:56:03.268" v="3829" actId="404"/>
          <ac:spMkLst>
            <pc:docMk/>
            <pc:sldMk cId="3441880571" sldId="4098"/>
            <ac:spMk id="3" creationId="{16ACF244-9651-04CE-6F2E-1B45634E4285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7" creationId="{8D6E448A-A01E-AD65-F540-2BA5D1396422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13" creationId="{5868A61E-A2B1-0DF2-7B58-88BF37270795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14" creationId="{0559934D-D856-043D-D47A-53A3392047CB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18" creationId="{40E21B28-0002-420D-E631-D88E33043D38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23" creationId="{64C4345A-6F54-DC2A-8B16-C6CF680A71C0}"/>
          </ac:spMkLst>
        </pc:spChg>
        <pc:spChg chg="mod">
          <ac:chgData name="Rizky Fajar" userId="490a5c0ae4650a6d" providerId="LiveId" clId="{333143B3-B6CA-45C5-8061-3F03017FDB6D}" dt="2025-03-20T14:57:19.110" v="3869" actId="20577"/>
          <ac:spMkLst>
            <pc:docMk/>
            <pc:sldMk cId="3441880571" sldId="4098"/>
            <ac:spMk id="24" creationId="{01467E9A-36ED-741A-BE15-990625077A4D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25" creationId="{B1295AAA-C328-F299-CA33-C2139DB6A698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26" creationId="{0EC2592C-4913-3A5A-EFFB-AC941815B949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30" creationId="{DF8323EC-A7FB-3948-7AA3-51AC0546EB11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34" creationId="{DE183E07-A56B-F924-2E33-B74EC90DC941}"/>
          </ac:spMkLst>
        </pc:spChg>
        <pc:spChg chg="del">
          <ac:chgData name="Rizky Fajar" userId="490a5c0ae4650a6d" providerId="LiveId" clId="{333143B3-B6CA-45C5-8061-3F03017FDB6D}" dt="2025-03-20T14:51:57.948" v="3416" actId="478"/>
          <ac:spMkLst>
            <pc:docMk/>
            <pc:sldMk cId="3441880571" sldId="4098"/>
            <ac:spMk id="39" creationId="{2489145F-02E3-8915-2668-A08B720B7352}"/>
          </ac:spMkLst>
        </pc:spChg>
        <pc:picChg chg="add mod">
          <ac:chgData name="Rizky Fajar" userId="490a5c0ae4650a6d" providerId="LiveId" clId="{333143B3-B6CA-45C5-8061-3F03017FDB6D}" dt="2025-03-20T14:56:07.945" v="3832" actId="1076"/>
          <ac:picMkLst>
            <pc:docMk/>
            <pc:sldMk cId="3441880571" sldId="4098"/>
            <ac:picMk id="5" creationId="{46012FE2-AE1D-9FB2-300E-F50C35BD8718}"/>
          </ac:picMkLst>
        </pc:picChg>
      </pc:sldChg>
      <pc:sldChg chg="modSp add del mod">
        <pc:chgData name="Rizky Fajar" userId="490a5c0ae4650a6d" providerId="LiveId" clId="{333143B3-B6CA-45C5-8061-3F03017FDB6D}" dt="2025-03-20T14:58:28.395" v="3870" actId="47"/>
        <pc:sldMkLst>
          <pc:docMk/>
          <pc:sldMk cId="2317694919" sldId="4099"/>
        </pc:sldMkLst>
        <pc:spChg chg="mod">
          <ac:chgData name="Rizky Fajar" userId="490a5c0ae4650a6d" providerId="LiveId" clId="{333143B3-B6CA-45C5-8061-3F03017FDB6D}" dt="2025-03-20T14:56:36.545" v="3867" actId="20577"/>
          <ac:spMkLst>
            <pc:docMk/>
            <pc:sldMk cId="2317694919" sldId="4099"/>
            <ac:spMk id="24" creationId="{10BDF24A-0E7B-2F40-2CDF-3F259305C95E}"/>
          </ac:spMkLst>
        </pc:spChg>
      </pc:sldChg>
      <pc:sldChg chg="modSp add mod">
        <pc:chgData name="Rizky Fajar" userId="490a5c0ae4650a6d" providerId="LiveId" clId="{333143B3-B6CA-45C5-8061-3F03017FDB6D}" dt="2025-03-20T15:00:01.761" v="3966" actId="20577"/>
        <pc:sldMkLst>
          <pc:docMk/>
          <pc:sldMk cId="2918906272" sldId="4099"/>
        </pc:sldMkLst>
        <pc:spChg chg="mod">
          <ac:chgData name="Rizky Fajar" userId="490a5c0ae4650a6d" providerId="LiveId" clId="{333143B3-B6CA-45C5-8061-3F03017FDB6D}" dt="2025-03-20T15:00:01.761" v="3966" actId="20577"/>
          <ac:spMkLst>
            <pc:docMk/>
            <pc:sldMk cId="2918906272" sldId="4099"/>
            <ac:spMk id="5" creationId="{2D7AD6BB-09E8-70FF-8960-4C2E9EC2BD56}"/>
          </ac:spMkLst>
        </pc:spChg>
      </pc:sldChg>
    </pc:docChg>
  </pc:docChgLst>
  <pc:docChgLst>
    <pc:chgData name="Rizky Aditya" userId="52991656-54c1-45f8-96fe-8249ee811bf3" providerId="ADAL" clId="{53964DFB-F770-41A0-8249-C6787CEAF222}"/>
    <pc:docChg chg="undo custSel addSld delSld modSld sldOrd addSection delSection modSection">
      <pc:chgData name="Rizky Aditya" userId="52991656-54c1-45f8-96fe-8249ee811bf3" providerId="ADAL" clId="{53964DFB-F770-41A0-8249-C6787CEAF222}" dt="2024-06-27T06:03:23.959" v="5565" actId="20577"/>
      <pc:docMkLst>
        <pc:docMk/>
      </pc:docMkLst>
      <pc:sldChg chg="del">
        <pc:chgData name="Rizky Aditya" userId="52991656-54c1-45f8-96fe-8249ee811bf3" providerId="ADAL" clId="{53964DFB-F770-41A0-8249-C6787CEAF222}" dt="2024-06-19T01:51:52.705" v="0" actId="47"/>
        <pc:sldMkLst>
          <pc:docMk/>
          <pc:sldMk cId="2907044538" sldId="362"/>
        </pc:sldMkLst>
      </pc:sldChg>
      <pc:sldChg chg="del">
        <pc:chgData name="Rizky Aditya" userId="52991656-54c1-45f8-96fe-8249ee811bf3" providerId="ADAL" clId="{53964DFB-F770-41A0-8249-C6787CEAF222}" dt="2024-06-19T01:51:52.705" v="0" actId="47"/>
        <pc:sldMkLst>
          <pc:docMk/>
          <pc:sldMk cId="2568355935" sldId="430"/>
        </pc:sldMkLst>
      </pc:sldChg>
      <pc:sldChg chg="mod modShow">
        <pc:chgData name="Rizky Aditya" userId="52991656-54c1-45f8-96fe-8249ee811bf3" providerId="ADAL" clId="{53964DFB-F770-41A0-8249-C6787CEAF222}" dt="2024-06-19T03:15:51.598" v="1960" actId="729"/>
        <pc:sldMkLst>
          <pc:docMk/>
          <pc:sldMk cId="1689366057" sldId="431"/>
        </pc:sldMkLst>
      </pc:sldChg>
      <pc:sldChg chg="mod modShow">
        <pc:chgData name="Rizky Aditya" userId="52991656-54c1-45f8-96fe-8249ee811bf3" providerId="ADAL" clId="{53964DFB-F770-41A0-8249-C6787CEAF222}" dt="2024-06-19T03:15:51.598" v="1960" actId="729"/>
        <pc:sldMkLst>
          <pc:docMk/>
          <pc:sldMk cId="1255580606" sldId="433"/>
        </pc:sldMkLst>
      </pc:sldChg>
      <pc:sldChg chg="del">
        <pc:chgData name="Rizky Aditya" userId="52991656-54c1-45f8-96fe-8249ee811bf3" providerId="ADAL" clId="{53964DFB-F770-41A0-8249-C6787CEAF222}" dt="2024-06-19T01:51:52.705" v="0" actId="47"/>
        <pc:sldMkLst>
          <pc:docMk/>
          <pc:sldMk cId="3878810061" sldId="434"/>
        </pc:sldMkLst>
      </pc:sldChg>
      <pc:sldChg chg="mod modShow">
        <pc:chgData name="Rizky Aditya" userId="52991656-54c1-45f8-96fe-8249ee811bf3" providerId="ADAL" clId="{53964DFB-F770-41A0-8249-C6787CEAF222}" dt="2024-06-19T03:15:51.598" v="1960" actId="729"/>
        <pc:sldMkLst>
          <pc:docMk/>
          <pc:sldMk cId="3300756953" sldId="4023"/>
        </pc:sldMkLst>
      </pc:sldChg>
      <pc:sldChg chg="addSp delSp modSp add mod">
        <pc:chgData name="Rizky Aditya" userId="52991656-54c1-45f8-96fe-8249ee811bf3" providerId="ADAL" clId="{53964DFB-F770-41A0-8249-C6787CEAF222}" dt="2024-06-27T06:03:23.959" v="5565" actId="20577"/>
        <pc:sldMkLst>
          <pc:docMk/>
          <pc:sldMk cId="2700089645" sldId="4024"/>
        </pc:sldMkLst>
      </pc:sldChg>
      <pc:sldChg chg="addSp delSp modSp add del mod">
        <pc:chgData name="Rizky Aditya" userId="52991656-54c1-45f8-96fe-8249ee811bf3" providerId="ADAL" clId="{53964DFB-F770-41A0-8249-C6787CEAF222}" dt="2024-06-19T01:52:35.881" v="13" actId="47"/>
        <pc:sldMkLst>
          <pc:docMk/>
          <pc:sldMk cId="3398505767" sldId="4024"/>
        </pc:sldMkLst>
      </pc:sldChg>
      <pc:sldChg chg="addSp delSp modSp add mod">
        <pc:chgData name="Rizky Aditya" userId="52991656-54c1-45f8-96fe-8249ee811bf3" providerId="ADAL" clId="{53964DFB-F770-41A0-8249-C6787CEAF222}" dt="2024-06-27T06:02:31.950" v="5559" actId="20577"/>
        <pc:sldMkLst>
          <pc:docMk/>
          <pc:sldMk cId="1279478407" sldId="4025"/>
        </pc:sldMkLst>
      </pc:sldChg>
      <pc:sldChg chg="add del">
        <pc:chgData name="Rizky Aditya" userId="52991656-54c1-45f8-96fe-8249ee811bf3" providerId="ADAL" clId="{53964DFB-F770-41A0-8249-C6787CEAF222}" dt="2024-06-19T03:44:09.168" v="1970" actId="47"/>
        <pc:sldMkLst>
          <pc:docMk/>
          <pc:sldMk cId="2618734045" sldId="4025"/>
        </pc:sldMkLst>
      </pc:sldChg>
      <pc:sldChg chg="addSp delSp modSp add mod">
        <pc:chgData name="Rizky Aditya" userId="52991656-54c1-45f8-96fe-8249ee811bf3" providerId="ADAL" clId="{53964DFB-F770-41A0-8249-C6787CEAF222}" dt="2024-06-27T05:58:38.859" v="5150" actId="1076"/>
        <pc:sldMkLst>
          <pc:docMk/>
          <pc:sldMk cId="2859003556" sldId="4026"/>
        </pc:sldMkLst>
      </pc:sldChg>
      <pc:sldMasterChg chg="delSldLayout">
        <pc:chgData name="Rizky Aditya" userId="52991656-54c1-45f8-96fe-8249ee811bf3" providerId="ADAL" clId="{53964DFB-F770-41A0-8249-C6787CEAF222}" dt="2024-06-19T01:51:52.705" v="0" actId="47"/>
        <pc:sldMasterMkLst>
          <pc:docMk/>
          <pc:sldMasterMk cId="990448105" sldId="2147483822"/>
        </pc:sldMasterMkLst>
        <pc:sldLayoutChg chg="del">
          <pc:chgData name="Rizky Aditya" userId="52991656-54c1-45f8-96fe-8249ee811bf3" providerId="ADAL" clId="{53964DFB-F770-41A0-8249-C6787CEAF222}" dt="2024-06-19T01:51:52.705" v="0" actId="47"/>
          <pc:sldLayoutMkLst>
            <pc:docMk/>
            <pc:sldMasterMk cId="990448105" sldId="2147483822"/>
            <pc:sldLayoutMk cId="3143833987" sldId="2147483840"/>
          </pc:sldLayoutMkLst>
        </pc:sldLayoutChg>
      </pc:sldMasterChg>
    </pc:docChg>
  </pc:docChgLst>
  <pc:docChgLst>
    <pc:chgData name="Rizky Aditya" userId="52991656-54c1-45f8-96fe-8249ee811bf3" providerId="ADAL" clId="{92176A0A-EDDC-4083-96D1-DAEF628B3E16}"/>
    <pc:docChg chg="undo custSel addSld delSld modSld sldOrd addSection modSection">
      <pc:chgData name="Rizky Aditya" userId="52991656-54c1-45f8-96fe-8249ee811bf3" providerId="ADAL" clId="{92176A0A-EDDC-4083-96D1-DAEF628B3E16}" dt="2024-08-05T12:29:15.248" v="399" actId="47"/>
      <pc:docMkLst>
        <pc:docMk/>
      </pc:docMkLst>
      <pc:sldChg chg="del">
        <pc:chgData name="Rizky Aditya" userId="52991656-54c1-45f8-96fe-8249ee811bf3" providerId="ADAL" clId="{92176A0A-EDDC-4083-96D1-DAEF628B3E16}" dt="2024-08-05T12:29:15.248" v="399" actId="47"/>
        <pc:sldMkLst>
          <pc:docMk/>
          <pc:sldMk cId="1689366057" sldId="431"/>
        </pc:sldMkLst>
      </pc:sldChg>
      <pc:sldChg chg="del">
        <pc:chgData name="Rizky Aditya" userId="52991656-54c1-45f8-96fe-8249ee811bf3" providerId="ADAL" clId="{92176A0A-EDDC-4083-96D1-DAEF628B3E16}" dt="2024-08-05T12:29:15.248" v="399" actId="47"/>
        <pc:sldMkLst>
          <pc:docMk/>
          <pc:sldMk cId="1255580606" sldId="433"/>
        </pc:sldMkLst>
      </pc:sldChg>
      <pc:sldChg chg="del">
        <pc:chgData name="Rizky Aditya" userId="52991656-54c1-45f8-96fe-8249ee811bf3" providerId="ADAL" clId="{92176A0A-EDDC-4083-96D1-DAEF628B3E16}" dt="2024-08-05T12:29:15.248" v="399" actId="47"/>
        <pc:sldMkLst>
          <pc:docMk/>
          <pc:sldMk cId="3300756953" sldId="4023"/>
        </pc:sldMkLst>
      </pc:sldChg>
      <pc:sldChg chg="mod modShow">
        <pc:chgData name="Rizky Aditya" userId="52991656-54c1-45f8-96fe-8249ee811bf3" providerId="ADAL" clId="{92176A0A-EDDC-4083-96D1-DAEF628B3E16}" dt="2024-07-25T07:55:44.588" v="265" actId="729"/>
        <pc:sldMkLst>
          <pc:docMk/>
          <pc:sldMk cId="2700089645" sldId="4024"/>
        </pc:sldMkLst>
      </pc:sldChg>
      <pc:sldChg chg="mod modShow">
        <pc:chgData name="Rizky Aditya" userId="52991656-54c1-45f8-96fe-8249ee811bf3" providerId="ADAL" clId="{92176A0A-EDDC-4083-96D1-DAEF628B3E16}" dt="2024-07-25T07:55:44.588" v="265" actId="729"/>
        <pc:sldMkLst>
          <pc:docMk/>
          <pc:sldMk cId="1279478407" sldId="4025"/>
        </pc:sldMkLst>
      </pc:sldChg>
      <pc:sldChg chg="mod modShow">
        <pc:chgData name="Rizky Aditya" userId="52991656-54c1-45f8-96fe-8249ee811bf3" providerId="ADAL" clId="{92176A0A-EDDC-4083-96D1-DAEF628B3E16}" dt="2024-07-25T07:55:41.270" v="264" actId="729"/>
        <pc:sldMkLst>
          <pc:docMk/>
          <pc:sldMk cId="2859003556" sldId="4026"/>
        </pc:sldMkLst>
      </pc:sldChg>
      <pc:sldChg chg="new del">
        <pc:chgData name="Rizky Aditya" userId="52991656-54c1-45f8-96fe-8249ee811bf3" providerId="ADAL" clId="{92176A0A-EDDC-4083-96D1-DAEF628B3E16}" dt="2024-07-25T03:30:39.590" v="1" actId="680"/>
        <pc:sldMkLst>
          <pc:docMk/>
          <pc:sldMk cId="706824899" sldId="4027"/>
        </pc:sldMkLst>
      </pc:sldChg>
      <pc:sldChg chg="addSp delSp modSp add mod">
        <pc:chgData name="Rizky Aditya" userId="52991656-54c1-45f8-96fe-8249ee811bf3" providerId="ADAL" clId="{92176A0A-EDDC-4083-96D1-DAEF628B3E16}" dt="2024-07-25T08:11:58.176" v="338" actId="404"/>
        <pc:sldMkLst>
          <pc:docMk/>
          <pc:sldMk cId="3853438254" sldId="4027"/>
        </pc:sldMkLst>
      </pc:sldChg>
      <pc:sldChg chg="addSp delSp modSp add mod">
        <pc:chgData name="Rizky Aditya" userId="52991656-54c1-45f8-96fe-8249ee811bf3" providerId="ADAL" clId="{92176A0A-EDDC-4083-96D1-DAEF628B3E16}" dt="2024-07-25T08:15:44.033" v="398" actId="1036"/>
        <pc:sldMkLst>
          <pc:docMk/>
          <pc:sldMk cId="804872904" sldId="4028"/>
        </pc:sldMkLst>
      </pc:sldChg>
    </pc:docChg>
  </pc:docChgLst>
  <pc:docChgLst>
    <pc:chgData name="Rizky Aditya" userId="S::rizky.aditya@triputraenergi.com::52991656-54c1-45f8-96fe-8249ee811bf3" providerId="AD" clId="Web-{9A6EEC4C-D266-39ED-A0BF-8D16865D7F11}"/>
    <pc:docChg chg="sldOrd">
      <pc:chgData name="Rizky Aditya" userId="S::rizky.aditya@triputraenergi.com::52991656-54c1-45f8-96fe-8249ee811bf3" providerId="AD" clId="Web-{9A6EEC4C-D266-39ED-A0BF-8D16865D7F11}" dt="2024-09-16T04:16:20.792" v="0"/>
      <pc:docMkLst>
        <pc:docMk/>
      </pc:docMkLst>
      <pc:sldChg chg="ord">
        <pc:chgData name="Rizky Aditya" userId="S::rizky.aditya@triputraenergi.com::52991656-54c1-45f8-96fe-8249ee811bf3" providerId="AD" clId="Web-{9A6EEC4C-D266-39ED-A0BF-8D16865D7F11}" dt="2024-09-16T04:16:20.792" v="0"/>
        <pc:sldMkLst>
          <pc:docMk/>
          <pc:sldMk cId="802796825" sldId="4030"/>
        </pc:sldMkLst>
      </pc:sldChg>
    </pc:docChg>
  </pc:docChgLst>
  <pc:docChgLst>
    <pc:chgData name="Rizky Aditya" userId="52991656-54c1-45f8-96fe-8249ee811bf3" providerId="ADAL" clId="{F4D53A8A-6F3A-4B5E-A1EC-96BFF7854B88}"/>
    <pc:docChg chg="undo custSel addSld delSld modSld modSection">
      <pc:chgData name="Rizky Aditya" userId="52991656-54c1-45f8-96fe-8249ee811bf3" providerId="ADAL" clId="{F4D53A8A-6F3A-4B5E-A1EC-96BFF7854B88}" dt="2024-09-18T09:26:32.693" v="873" actId="20577"/>
      <pc:docMkLst>
        <pc:docMk/>
      </pc:docMkLst>
      <pc:sldChg chg="modSp mod">
        <pc:chgData name="Rizky Aditya" userId="52991656-54c1-45f8-96fe-8249ee811bf3" providerId="ADAL" clId="{F4D53A8A-6F3A-4B5E-A1EC-96BFF7854B88}" dt="2024-09-18T07:08:40.553" v="72" actId="20577"/>
        <pc:sldMkLst>
          <pc:docMk/>
          <pc:sldMk cId="3853438254" sldId="4027"/>
        </pc:sldMkLst>
      </pc:sldChg>
      <pc:sldChg chg="modSp add del mod">
        <pc:chgData name="Rizky Aditya" userId="52991656-54c1-45f8-96fe-8249ee811bf3" providerId="ADAL" clId="{F4D53A8A-6F3A-4B5E-A1EC-96BFF7854B88}" dt="2024-09-18T06:44:57.289" v="3" actId="47"/>
        <pc:sldMkLst>
          <pc:docMk/>
          <pc:sldMk cId="900198641" sldId="4031"/>
        </pc:sldMkLst>
      </pc:sldChg>
      <pc:sldChg chg="modSp add mod modNotesTx">
        <pc:chgData name="Rizky Aditya" userId="52991656-54c1-45f8-96fe-8249ee811bf3" providerId="ADAL" clId="{F4D53A8A-6F3A-4B5E-A1EC-96BFF7854B88}" dt="2024-09-18T09:26:32.693" v="873" actId="20577"/>
        <pc:sldMkLst>
          <pc:docMk/>
          <pc:sldMk cId="2153555081" sldId="4031"/>
        </pc:sldMkLst>
      </pc:sldChg>
      <pc:sldChg chg="addSp delSp modSp add mod modNotesTx">
        <pc:chgData name="Rizky Aditya" userId="52991656-54c1-45f8-96fe-8249ee811bf3" providerId="ADAL" clId="{F4D53A8A-6F3A-4B5E-A1EC-96BFF7854B88}" dt="2024-09-18T09:26:29.385" v="872" actId="20577"/>
        <pc:sldMkLst>
          <pc:docMk/>
          <pc:sldMk cId="368178181" sldId="4032"/>
        </pc:sldMkLst>
      </pc:sldChg>
    </pc:docChg>
  </pc:docChgLst>
  <pc:docChgLst>
    <pc:chgData name="Rizky Aditya" userId="52991656-54c1-45f8-96fe-8249ee811bf3" providerId="ADAL" clId="{557ED77D-C9A2-42C5-8755-6938D25D29C8}"/>
    <pc:docChg chg="undo custSel addSld delSld modSld sldOrd delSection modSection">
      <pc:chgData name="Rizky Aditya" userId="52991656-54c1-45f8-96fe-8249ee811bf3" providerId="ADAL" clId="{557ED77D-C9A2-42C5-8755-6938D25D29C8}" dt="2024-09-04T02:26:23.605" v="1870" actId="27918"/>
      <pc:docMkLst>
        <pc:docMk/>
      </pc:docMkLst>
      <pc:sldChg chg="del">
        <pc:chgData name="Rizky Aditya" userId="52991656-54c1-45f8-96fe-8249ee811bf3" providerId="ADAL" clId="{557ED77D-C9A2-42C5-8755-6938D25D29C8}" dt="2024-09-03T04:22:32.541" v="46" actId="47"/>
        <pc:sldMkLst>
          <pc:docMk/>
          <pc:sldMk cId="2700089645" sldId="4024"/>
        </pc:sldMkLst>
      </pc:sldChg>
      <pc:sldChg chg="del">
        <pc:chgData name="Rizky Aditya" userId="52991656-54c1-45f8-96fe-8249ee811bf3" providerId="ADAL" clId="{557ED77D-C9A2-42C5-8755-6938D25D29C8}" dt="2024-09-03T04:29:34.708" v="247" actId="47"/>
        <pc:sldMkLst>
          <pc:docMk/>
          <pc:sldMk cId="1279478407" sldId="4025"/>
        </pc:sldMkLst>
      </pc:sldChg>
      <pc:sldChg chg="del">
        <pc:chgData name="Rizky Aditya" userId="52991656-54c1-45f8-96fe-8249ee811bf3" providerId="ADAL" clId="{557ED77D-C9A2-42C5-8755-6938D25D29C8}" dt="2024-09-03T04:29:34.708" v="247" actId="47"/>
        <pc:sldMkLst>
          <pc:docMk/>
          <pc:sldMk cId="2859003556" sldId="4026"/>
        </pc:sldMkLst>
      </pc:sldChg>
      <pc:sldChg chg="addSp delSp modSp mod modNotesTx">
        <pc:chgData name="Rizky Aditya" userId="52991656-54c1-45f8-96fe-8249ee811bf3" providerId="ADAL" clId="{557ED77D-C9A2-42C5-8755-6938D25D29C8}" dt="2024-09-03T08:20:02.783" v="1868" actId="20577"/>
        <pc:sldMkLst>
          <pc:docMk/>
          <pc:sldMk cId="3853438254" sldId="4027"/>
        </pc:sldMkLst>
      </pc:sldChg>
      <pc:sldChg chg="mod modShow">
        <pc:chgData name="Rizky Aditya" userId="52991656-54c1-45f8-96fe-8249ee811bf3" providerId="ADAL" clId="{557ED77D-C9A2-42C5-8755-6938D25D29C8}" dt="2024-09-03T04:31:06.862" v="263" actId="729"/>
        <pc:sldMkLst>
          <pc:docMk/>
          <pc:sldMk cId="804872904" sldId="4028"/>
        </pc:sldMkLst>
      </pc:sldChg>
      <pc:sldChg chg="addSp delSp modSp add mod ord modShow">
        <pc:chgData name="Rizky Aditya" userId="52991656-54c1-45f8-96fe-8249ee811bf3" providerId="ADAL" clId="{557ED77D-C9A2-42C5-8755-6938D25D29C8}" dt="2024-09-04T02:26:23.605" v="1870" actId="27918"/>
        <pc:sldMkLst>
          <pc:docMk/>
          <pc:sldMk cId="3033883038" sldId="4029"/>
        </pc:sldMkLst>
      </pc:sldChg>
      <pc:sldChg chg="addSp delSp modSp add mod modShow">
        <pc:chgData name="Rizky Aditya" userId="52991656-54c1-45f8-96fe-8249ee811bf3" providerId="ADAL" clId="{557ED77D-C9A2-42C5-8755-6938D25D29C8}" dt="2024-09-03T05:38:41.171" v="1175" actId="478"/>
        <pc:sldMkLst>
          <pc:docMk/>
          <pc:sldMk cId="802796825" sldId="4030"/>
        </pc:sldMkLst>
      </pc:sldChg>
      <pc:sldChg chg="new del">
        <pc:chgData name="Rizky Aditya" userId="52991656-54c1-45f8-96fe-8249ee811bf3" providerId="ADAL" clId="{557ED77D-C9A2-42C5-8755-6938D25D29C8}" dt="2024-09-03T04:27:27.042" v="178" actId="680"/>
        <pc:sldMkLst>
          <pc:docMk/>
          <pc:sldMk cId="3921084430" sldId="4030"/>
        </pc:sldMkLst>
      </pc:sldChg>
      <pc:sldChg chg="add del">
        <pc:chgData name="Rizky Aditya" userId="52991656-54c1-45f8-96fe-8249ee811bf3" providerId="ADAL" clId="{557ED77D-C9A2-42C5-8755-6938D25D29C8}" dt="2024-09-03T08:11:24.597" v="1531" actId="47"/>
        <pc:sldMkLst>
          <pc:docMk/>
          <pc:sldMk cId="3077361029" sldId="4031"/>
        </pc:sldMkLst>
      </pc:sldChg>
    </pc:docChg>
  </pc:docChgLst>
  <pc:docChgLst>
    <pc:chgData name="Rizky Fajar" userId="490a5c0ae4650a6d" providerId="LiveId" clId="{62596CC9-5296-4DC9-A70E-92DD63ED83D6}"/>
    <pc:docChg chg="undo redo custSel addSld delSld modSld modSection">
      <pc:chgData name="Rizky Fajar" userId="490a5c0ae4650a6d" providerId="LiveId" clId="{62596CC9-5296-4DC9-A70E-92DD63ED83D6}" dt="2024-11-19T15:37:25.444" v="5514" actId="20577"/>
      <pc:docMkLst>
        <pc:docMk/>
      </pc:docMkLst>
      <pc:sldChg chg="addSp delSp modSp del mod">
        <pc:chgData name="Rizky Fajar" userId="490a5c0ae4650a6d" providerId="LiveId" clId="{62596CC9-5296-4DC9-A70E-92DD63ED83D6}" dt="2024-11-19T15:34:07.353" v="5469" actId="47"/>
        <pc:sldMkLst>
          <pc:docMk/>
          <pc:sldMk cId="3425220804" sldId="4032"/>
        </pc:sldMkLst>
      </pc:sldChg>
      <pc:sldChg chg="del">
        <pc:chgData name="Rizky Fajar" userId="490a5c0ae4650a6d" providerId="LiveId" clId="{62596CC9-5296-4DC9-A70E-92DD63ED83D6}" dt="2024-11-19T15:34:07.353" v="5469" actId="47"/>
        <pc:sldMkLst>
          <pc:docMk/>
          <pc:sldMk cId="1555091660" sldId="4033"/>
        </pc:sldMkLst>
      </pc:sldChg>
      <pc:sldChg chg="addSp delSp modSp add mod">
        <pc:chgData name="Rizky Fajar" userId="490a5c0ae4650a6d" providerId="LiveId" clId="{62596CC9-5296-4DC9-A70E-92DD63ED83D6}" dt="2024-11-19T15:35:22.975" v="5472"/>
        <pc:sldMkLst>
          <pc:docMk/>
          <pc:sldMk cId="2391068577" sldId="4035"/>
        </pc:sldMkLst>
      </pc:sldChg>
      <pc:sldChg chg="addSp delSp modSp add mod">
        <pc:chgData name="Rizky Fajar" userId="490a5c0ae4650a6d" providerId="LiveId" clId="{62596CC9-5296-4DC9-A70E-92DD63ED83D6}" dt="2024-11-19T15:26:45.996" v="5045" actId="1035"/>
        <pc:sldMkLst>
          <pc:docMk/>
          <pc:sldMk cId="3655741543" sldId="4036"/>
        </pc:sldMkLst>
      </pc:sldChg>
      <pc:sldChg chg="addSp delSp modSp add mod">
        <pc:chgData name="Rizky Fajar" userId="490a5c0ae4650a6d" providerId="LiveId" clId="{62596CC9-5296-4DC9-A70E-92DD63ED83D6}" dt="2024-11-19T15:37:15.855" v="5485" actId="20577"/>
        <pc:sldMkLst>
          <pc:docMk/>
          <pc:sldMk cId="3783977622" sldId="4037"/>
        </pc:sldMkLst>
      </pc:sldChg>
      <pc:sldChg chg="addSp delSp modSp add mod">
        <pc:chgData name="Rizky Fajar" userId="490a5c0ae4650a6d" providerId="LiveId" clId="{62596CC9-5296-4DC9-A70E-92DD63ED83D6}" dt="2024-11-19T15:37:25.444" v="5514" actId="20577"/>
        <pc:sldMkLst>
          <pc:docMk/>
          <pc:sldMk cId="962050034" sldId="403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in (IDR Bn)</c:v>
                </c:pt>
              </c:strCache>
            </c:strRef>
          </c:tx>
          <c:spPr>
            <a:solidFill>
              <a:srgbClr val="00A2ED"/>
            </a:solidFill>
            <a:ln>
              <a:solidFill>
                <a:srgbClr val="00A7F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B$6</c:f>
              <c:numCache>
                <c:formatCode>_-* #,##0_-;\-* #,##0_-;_-* "-"??_-;_-@_-</c:formatCode>
                <c:ptCount val="5"/>
                <c:pt idx="0">
                  <c:v>50000000000</c:v>
                </c:pt>
                <c:pt idx="1">
                  <c:v>48000000000</c:v>
                </c:pt>
                <c:pt idx="2">
                  <c:v>45000000000</c:v>
                </c:pt>
                <c:pt idx="3">
                  <c:v>40000000000</c:v>
                </c:pt>
                <c:pt idx="4">
                  <c:v>370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6-41EE-A020-AFB7983CA1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9096687"/>
        <c:axId val="2129109167"/>
      </c:barChart>
      <c:catAx>
        <c:axId val="2129096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2129109167"/>
        <c:crosses val="autoZero"/>
        <c:auto val="1"/>
        <c:lblAlgn val="ctr"/>
        <c:lblOffset val="100"/>
        <c:noMultiLvlLbl val="0"/>
      </c:catAx>
      <c:valAx>
        <c:axId val="2129109167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extTo"/>
        <c:crossAx val="2129096687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o Hailing</c:v>
                </c:pt>
              </c:strCache>
            </c:strRef>
          </c:tx>
          <c:spPr>
            <a:ln w="28575" cap="rnd">
              <a:solidFill>
                <a:srgbClr val="00A2ED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1B5-49EF-B6B0-6DF28E52468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1B5-49EF-B6B0-6DF28E52468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1B5-49EF-B6B0-6DF28E524684}"/>
                </c:ext>
              </c:extLst>
            </c:dLbl>
            <c:dLbl>
              <c:idx val="4"/>
              <c:layout>
                <c:manualLayout>
                  <c:x val="-4.3261070261949745E-2"/>
                  <c:y val="5.80548822028929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B5-49EF-B6B0-6DF28E5246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A2ED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B$6</c:f>
              <c:numCache>
                <c:formatCode>_-* #,##0_-;\-* #,##0_-;_-* "-"??_-;_-@_-</c:formatCode>
                <c:ptCount val="5"/>
                <c:pt idx="0">
                  <c:v>1000</c:v>
                </c:pt>
                <c:pt idx="1">
                  <c:v>950</c:v>
                </c:pt>
                <c:pt idx="2">
                  <c:v>900</c:v>
                </c:pt>
                <c:pt idx="3">
                  <c:v>850</c:v>
                </c:pt>
                <c:pt idx="4">
                  <c:v>8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06-41EE-A020-AFB7983CA19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stry Benchmark</c:v>
                </c:pt>
              </c:strCache>
            </c:strRef>
          </c:tx>
          <c:spPr>
            <a:ln w="28575" cap="rnd">
              <a:solidFill>
                <a:srgbClr val="051C2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1255969307900185E-2"/>
                  <c:y val="6.72009558006991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B5-49EF-B6B0-6DF28E52468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1B5-49EF-B6B0-6DF28E52468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1B5-49EF-B6B0-6DF28E52468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1B5-49EF-B6B0-6DF28E5246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51C2C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00</c:v>
                </c:pt>
                <c:pt idx="1">
                  <c:v>850</c:v>
                </c:pt>
                <c:pt idx="2">
                  <c:v>920</c:v>
                </c:pt>
                <c:pt idx="3">
                  <c:v>930</c:v>
                </c:pt>
                <c:pt idx="4">
                  <c:v>9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B5-49EF-B6B0-6DF28E52468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129096687"/>
        <c:axId val="2129109167"/>
      </c:lineChart>
      <c:catAx>
        <c:axId val="2129096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2129109167"/>
        <c:crosses val="autoZero"/>
        <c:auto val="1"/>
        <c:lblAlgn val="ctr"/>
        <c:lblOffset val="100"/>
        <c:noMultiLvlLbl val="0"/>
      </c:catAx>
      <c:valAx>
        <c:axId val="2129109167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extTo"/>
        <c:crossAx val="212909668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ECADB0-8EA0-43D8-860A-195F1C2C97E1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8C3C71-FB28-4AFC-BF26-DF779D193A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86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0F54C9-44EC-C74A-E92F-6DAEAB1A5D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F09844-3BFC-C80E-E045-088A0227CB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1DAB58-1D1E-D40F-75C4-B931DC08AB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53A8D7-EB85-72C3-771D-C5C9685B1A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1880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7B4AFE-A4CC-AC96-18F0-A02063C4C0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BC0DBE-81BB-F175-FE17-97BF92880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9DB193-F2C5-1C3A-CD0F-EB89F8260C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D3233-B2A7-0E54-A461-E0983D0E78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4809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851E27-7557-9B3C-3CB6-80CFF15CE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A732AF-B2EC-5E5F-9045-B599EEBCE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577690-1A11-1C94-F48A-D043009D33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B4695E-998B-923A-FCDC-18DCA43F6E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628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B84E1-E344-411B-4D78-146B97AB18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01FF39-6BA6-88A1-CA6B-21EFD47BE1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3FA562-CCDA-5217-34AE-B61A293A2D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20F97D-0A10-5E72-FEFD-BB9F65801E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6059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ED8528-E7E8-E42A-CD1F-E5DA42A57A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5C962A-BB6A-9877-11B9-1F3BECA15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6B548C-DD45-A53B-4E36-6A4FC2ACA6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F88160-605C-32E4-2C76-E3CCCBE90E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6320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10DD2E-A24D-5945-9060-5EB49D1588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706BAB-0AD4-DDA2-8CE3-09E8C99531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810364-C6CB-00B0-5810-F666F31088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6351F-9B9C-B314-8D73-B1611C311D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6563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3AB0B-A907-22A2-5871-58C7497490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9BE9A0-4D22-5441-2298-270907614D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D326D7-FC40-24FF-7776-AD108063D7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84CDDF-8893-D2EE-D6AB-F8303E9E5C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2469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C643D5-C76F-C8D4-EACD-FE4CA8391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DC8235-6E01-1B7E-670C-B8BA97B06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A2AD65-412B-37D9-361F-1CA35D23EE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C0CA66-C383-E27E-E1AA-27EFE7AA07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1735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B08FFF-5C0D-2DF5-6B5E-99EDB9D8E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65D62C-8086-505A-DE8E-66D14D5F2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ECA97D-4DB9-A7E2-B0E2-2E31A6E9BE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2F23CE-4E4F-667C-435C-96B515023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1021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6E9651-65D9-B91D-19A6-6D0BCD836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005447-2FAA-A001-9195-F4881BA18B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4096E0-5F15-286F-F02F-DF66FD384B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745D6-6491-9E05-31A5-A67B244EFD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9471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A15EA-FC7D-445C-9718-33929D28AC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907776-1F7A-32E7-FADB-D9749AE3A6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712FFD-4FA1-B254-EC3C-0C78F5BDC7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61440C-EB05-6625-AD0C-F5825C17E0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28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6BBCC-26FC-FDF4-FAC4-D4B575900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E3D316-95A4-BAED-76BB-D94CC4D9A0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C07163-26F9-F67E-4BBC-D31E23B15C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7350A8-3C45-16D8-68FA-5C1C76532D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9117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826114-4E98-6F3F-60D9-86424C1B0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8253B8-E67C-107A-9CB5-7B2FFE6ABF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04BF92-DF8A-9AA5-6DDE-6E01A65658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44527F-4B3A-2C8D-FA57-62E8407548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3581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953C07-6614-A233-4DAC-2BFA9EAE8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FB7B29-2AC8-FD25-9FA1-7B3F9DB8B8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FE360E-F0D7-9C07-ED82-ABDD0EA2A6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BC780-DD93-BC40-A452-E71FF41C4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981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92DAE-C233-FC63-39C3-D67E3D701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FE00BB-E7FD-BAA0-3EEA-E330C00AE1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999833-B22D-B933-A820-5E53EFF13A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C3A00-81E8-DE3B-1030-824F27CEC0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26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939690-1EA4-BFF0-89D9-3C3987D918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A23B78-B534-3781-615C-321D406C81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DCE029-DCDB-CDCB-7FDB-035ABAB2BF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C064C5-FAC1-E9A0-556A-A112E1A0DB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495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7E7F0C-6A32-6E86-A7DB-B59D9D4C55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3F5250-4A8B-1C0E-6DAC-381904FB73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BCA158-EF68-9F6B-B8F3-2687DDD9F6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562517-AB78-2CF0-B456-52738D6D6B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769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915CBF-6FFF-26FC-63B3-001D197CFB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8C15F4-1F4B-BDF5-ED8C-036BA83A35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AC5CB9-B738-D6C6-5D84-28102AF42D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CC549A-C4BF-68CA-0A55-6390B2641E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656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52E33A-F5B1-9D6D-7C96-ABB29970F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7BBCE2-DF2D-7127-5F8C-703B9E5A7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533D50-D4A7-5ED4-D652-C052652E1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2F99F4-9B7B-537B-EA21-D34F1EC30B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3560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D1101A-2D87-E182-DA8F-117354CC17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3D7616-CAB1-4599-048C-10A61CD9A2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00DA77-12E8-BD91-CD3A-A5314C1B86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C1D7F-4F42-DF87-56F5-6EA9489D91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7898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3E6A19-6326-768D-53D0-F3CDF38320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AA3AA9-9A60-5409-5A0E-B2D4CAC737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24CA10-41B3-79EF-1397-F4B33429DF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CDEB7-986F-5F43-D533-E21DEE2C50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2133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8E71B4-78EC-93A8-A88B-813D8B5E3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53017E-FD24-8CDA-284A-7D4CB2FD3A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1E0E53-C489-9B76-A8F8-DD16D0743B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FFEF8-63D1-CF4B-A149-76F363C00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246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8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5" y="1900826"/>
            <a:ext cx="10942067" cy="18288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5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 bwMode="white">
          <a:xfrm>
            <a:off x="633984" y="1576846"/>
            <a:ext cx="4876800" cy="314325"/>
          </a:xfrm>
        </p:spPr>
        <p:txBody>
          <a:bodyPr/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exmo_elh_tm_w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981643"/>
            <a:ext cx="2389632" cy="324454"/>
          </a:xfrm>
          <a:prstGeom prst="rect">
            <a:avLst/>
          </a:prstGeom>
        </p:spPr>
      </p:pic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0914887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5A5A5A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748828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6668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5298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1493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606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478497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99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1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99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5963061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306664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506903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323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chemeClr val="bg1"/>
                </a:solidFill>
              </a:defRPr>
            </a:lvl1pPr>
            <a:lvl2pPr marL="1191" indent="0">
              <a:buNone/>
              <a:defRPr sz="3300">
                <a:solidFill>
                  <a:schemeClr val="bg1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940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144" y="27432"/>
            <a:ext cx="109728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40182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rgbClr val="000000"/>
                </a:solidFill>
              </a:defRPr>
            </a:lvl1pPr>
            <a:lvl2pPr marL="1191" indent="0">
              <a:buNone/>
              <a:defRPr sz="3300">
                <a:solidFill>
                  <a:srgbClr val="000000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31104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9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9" y="1592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574" y="1886400"/>
            <a:ext cx="11030857" cy="4445000"/>
          </a:xfrm>
        </p:spPr>
        <p:txBody>
          <a:bodyPr/>
          <a:lstStyle>
            <a:lvl1pPr marL="128588" indent="-128588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61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77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893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9237" indent="-214313">
              <a:defRPr lang="en-US" sz="1050" kern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7160" lvl="0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37160" lvl="1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37160" lvl="2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7160" lvl="3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37160" lvl="4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0574" y="1400176"/>
            <a:ext cx="11030857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28588" indent="-128588">
              <a:buNone/>
              <a:defRPr lang="en-US" b="1" smtClean="0">
                <a:solidFill>
                  <a:schemeClr val="accent1"/>
                </a:solidFill>
                <a:sym typeface="+mn-lt"/>
              </a:defRPr>
            </a:lvl1pPr>
            <a:lvl2pPr marL="214313" indent="-214313">
              <a:buNone/>
              <a:defRPr lang="en-US" smtClean="0">
                <a:solidFill>
                  <a:schemeClr val="accent1"/>
                </a:solidFill>
                <a:sym typeface="+mn-lt"/>
              </a:defRPr>
            </a:lvl2pPr>
            <a:lvl3pPr marL="270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3pPr>
            <a:lvl4pPr marL="405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4pPr>
            <a:lvl5pPr marL="540000" indent="0">
              <a:buNone/>
              <a:defRPr lang="en-GB" sz="750">
                <a:solidFill>
                  <a:schemeClr val="accent2"/>
                </a:solidFill>
                <a:sym typeface="+mn-lt"/>
              </a:defRPr>
            </a:lvl5pPr>
          </a:lstStyle>
          <a:p>
            <a:pPr marL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/>
              <a:t>Heading 1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946269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FC12A-CA49-40F4-A83B-A0A89DB8E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23906C-AB1D-46F5-8949-E4A437CB6A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DB6278-5E7C-4AFF-9146-33F44F239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E041A4-3024-4BA9-B23C-FE2E15925233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4342CE-DDB0-4922-964F-A97227769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C78B19-2739-469D-B542-4219716BB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5E652-BB65-4935-9F3D-9D87B8B4CF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5066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42D158-9F01-46CC-95BB-ADE27FBF1D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3B6C61-8CE6-4844-8A5C-75B80039AD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561860-6BB3-4E3E-B07B-C88BE8756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16990-A7B9-4291-9CC6-0E7ED1129EA5}" type="datetimeFigureOut">
              <a:rPr lang="en-ID" smtClean="0"/>
              <a:t>20/03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F1813B-5975-4DE9-977D-AAAC3516E7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C4534-B0FF-4738-A265-7083064A1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05EDF-0D80-4BE9-8646-8DF3EEA7C82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03577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5" y="1900826"/>
            <a:ext cx="10942067" cy="18288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5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 bwMode="white">
          <a:xfrm>
            <a:off x="633984" y="1576846"/>
            <a:ext cx="4876800" cy="314325"/>
          </a:xfrm>
        </p:spPr>
        <p:txBody>
          <a:bodyPr/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exmo_elh_tm_w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981643"/>
            <a:ext cx="2389632" cy="324454"/>
          </a:xfrm>
          <a:prstGeom prst="rect">
            <a:avLst/>
          </a:prstGeom>
        </p:spPr>
      </p:pic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0914887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5A5A5A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208946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144" y="27432"/>
            <a:ext cx="109728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3814518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85" y="6609456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FFFFFF"/>
                </a:solidFill>
              </a:rPr>
              <a:t>Proprietar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2850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7207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2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2" y="1363406"/>
            <a:ext cx="10971953" cy="424757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5457720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689292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0373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6135571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3247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8422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2294231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99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1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99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9544164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827654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4732962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330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chemeClr val="bg1"/>
                </a:solidFill>
              </a:defRPr>
            </a:lvl1pPr>
            <a:lvl2pPr marL="1191" indent="0">
              <a:buNone/>
              <a:defRPr sz="3300">
                <a:solidFill>
                  <a:schemeClr val="bg1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811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rgbClr val="000000"/>
                </a:solidFill>
              </a:defRPr>
            </a:lvl1pPr>
            <a:lvl2pPr marL="1191" indent="0">
              <a:buNone/>
              <a:defRPr sz="3300">
                <a:solidFill>
                  <a:srgbClr val="000000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814114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27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9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9" y="1592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574" y="1886400"/>
            <a:ext cx="11030857" cy="4445000"/>
          </a:xfrm>
        </p:spPr>
        <p:txBody>
          <a:bodyPr/>
          <a:lstStyle>
            <a:lvl1pPr marL="128588" indent="-128588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61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77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893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9237" indent="-214313">
              <a:defRPr lang="en-US" sz="1050" kern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7160" lvl="0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37160" lvl="1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37160" lvl="2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7160" lvl="3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37160" lvl="4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0574" y="1400176"/>
            <a:ext cx="11030857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28588" indent="-128588">
              <a:buNone/>
              <a:defRPr lang="en-US" b="1" smtClean="0">
                <a:solidFill>
                  <a:schemeClr val="accent1"/>
                </a:solidFill>
                <a:sym typeface="+mn-lt"/>
              </a:defRPr>
            </a:lvl1pPr>
            <a:lvl2pPr marL="214313" indent="-214313">
              <a:buNone/>
              <a:defRPr lang="en-US" smtClean="0">
                <a:solidFill>
                  <a:schemeClr val="accent1"/>
                </a:solidFill>
                <a:sym typeface="+mn-lt"/>
              </a:defRPr>
            </a:lvl2pPr>
            <a:lvl3pPr marL="270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3pPr>
            <a:lvl4pPr marL="405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4pPr>
            <a:lvl5pPr marL="540000" indent="0">
              <a:buNone/>
              <a:defRPr lang="en-GB" sz="750">
                <a:solidFill>
                  <a:schemeClr val="accent2"/>
                </a:solidFill>
                <a:sym typeface="+mn-lt"/>
              </a:defRPr>
            </a:lvl5pPr>
          </a:lstStyle>
          <a:p>
            <a:pPr marL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/>
              <a:t>Heading 1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2594386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/>
          <p:cNvSpPr>
            <a:spLocks noGrp="1"/>
          </p:cNvSpPr>
          <p:nvPr>
            <p:ph sz="quarter" idx="13" hasCustomPrompt="1"/>
          </p:nvPr>
        </p:nvSpPr>
        <p:spPr bwMode="white">
          <a:xfrm>
            <a:off x="633984" y="4648201"/>
            <a:ext cx="6692704" cy="6625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1200">
                <a:solidFill>
                  <a:srgbClr val="7F7F7F"/>
                </a:solidFill>
              </a:rPr>
              <a:t>Presenter name (optional)</a:t>
            </a:r>
          </a:p>
          <a:p>
            <a:r>
              <a:rPr lang="en-US" sz="1200">
                <a:solidFill>
                  <a:srgbClr val="7F7F7F"/>
                </a:solidFill>
              </a:rPr>
              <a:t>Title (optional)</a:t>
            </a:r>
          </a:p>
          <a:p>
            <a:r>
              <a:rPr lang="en-US" sz="1200">
                <a:solidFill>
                  <a:srgbClr val="7F7F7F"/>
                </a:solidFill>
              </a:rPr>
              <a:t>Location (optional)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2" hasCustomPrompt="1"/>
          </p:nvPr>
        </p:nvSpPr>
        <p:spPr bwMode="white">
          <a:xfrm>
            <a:off x="633984" y="409537"/>
            <a:ext cx="6692704" cy="314325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Extra copy line separated by two spaces, no comma (optional)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 bwMode="white">
          <a:xfrm>
            <a:off x="633984" y="1576846"/>
            <a:ext cx="6705600" cy="314325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/>
              <a:t>Month Date, Year or sub-headline</a:t>
            </a:r>
          </a:p>
        </p:txBody>
      </p:sp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836993" y="6267450"/>
            <a:ext cx="1749640" cy="22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defRPr lang="en-US" sz="800">
                <a:latin typeface="+mn-lt"/>
                <a:ea typeface="Arial"/>
                <a:cs typeface="Arial" charset="0"/>
              </a:defRPr>
            </a:lvl1pPr>
          </a:lstStyle>
          <a:p>
            <a:pPr algn="r"/>
            <a:r>
              <a:rPr lang="en-US"/>
              <a:t>Proprietary</a:t>
            </a:r>
          </a:p>
        </p:txBody>
      </p:sp>
      <p:pic>
        <p:nvPicPr>
          <p:cNvPr id="13" name="Picture 12" descr="exmo_elh_tm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875313"/>
            <a:ext cx="2389632" cy="32445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4" y="1900826"/>
            <a:ext cx="10942067" cy="228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0917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0554639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48133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15221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2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3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 marL="22701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454025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68897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915987" indent="0">
              <a:buFontTx/>
              <a:buNone/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3641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0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1" y="1363404"/>
            <a:ext cx="10971953" cy="424757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8363807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4450913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207603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4" y="2998789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14709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069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268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0281148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132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0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132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5476765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953563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6837163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4080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chemeClr val="bg1"/>
                </a:solidFill>
              </a:defRPr>
            </a:lvl1pPr>
            <a:lvl2pPr marL="1588" indent="0">
              <a:buNone/>
              <a:defRPr sz="4400">
                <a:solidFill>
                  <a:schemeClr val="bg1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412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rgbClr val="000000"/>
                </a:solidFill>
              </a:defRPr>
            </a:lvl1pPr>
            <a:lvl2pPr marL="1588" indent="0">
              <a:buNone/>
              <a:defRPr sz="4400">
                <a:solidFill>
                  <a:srgbClr val="000000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575047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5" y="1900826"/>
            <a:ext cx="10942067" cy="18288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5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 bwMode="white">
          <a:xfrm>
            <a:off x="633984" y="1576846"/>
            <a:ext cx="4876800" cy="314325"/>
          </a:xfrm>
        </p:spPr>
        <p:txBody>
          <a:bodyPr/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exmo_elh_tm_w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981643"/>
            <a:ext cx="2389632" cy="324454"/>
          </a:xfrm>
          <a:prstGeom prst="rect">
            <a:avLst/>
          </a:prstGeom>
        </p:spPr>
      </p:pic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0914887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5A5A5A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0209518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144" y="27432"/>
            <a:ext cx="109728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1512064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85" y="6609456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FFFFFF"/>
                </a:solidFill>
              </a:rPr>
              <a:t>Proprietar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967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8601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492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2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2" y="1363406"/>
            <a:ext cx="10971953" cy="424757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1974512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0989602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71103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8656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1746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390346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99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1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99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0169041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742388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354716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2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2" y="1363406"/>
            <a:ext cx="10971953" cy="424757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3791738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62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chemeClr val="bg1"/>
                </a:solidFill>
              </a:defRPr>
            </a:lvl1pPr>
            <a:lvl2pPr marL="1191" indent="0">
              <a:buNone/>
              <a:defRPr sz="3300">
                <a:solidFill>
                  <a:schemeClr val="bg1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401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rgbClr val="000000"/>
                </a:solidFill>
              </a:defRPr>
            </a:lvl1pPr>
            <a:lvl2pPr marL="1191" indent="0">
              <a:buNone/>
              <a:defRPr sz="3300">
                <a:solidFill>
                  <a:srgbClr val="000000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658864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9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9" y="1592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574" y="1886400"/>
            <a:ext cx="11030857" cy="4445000"/>
          </a:xfrm>
        </p:spPr>
        <p:txBody>
          <a:bodyPr/>
          <a:lstStyle>
            <a:lvl1pPr marL="128588" indent="-128588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61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77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893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9237" indent="-214313">
              <a:defRPr lang="en-US" sz="1050" kern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7160" lvl="0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37160" lvl="1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37160" lvl="2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7160" lvl="3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37160" lvl="4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0574" y="1400176"/>
            <a:ext cx="11030857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28588" indent="-128588">
              <a:buNone/>
              <a:defRPr lang="en-US" b="1" smtClean="0">
                <a:solidFill>
                  <a:schemeClr val="accent1"/>
                </a:solidFill>
                <a:sym typeface="+mn-lt"/>
              </a:defRPr>
            </a:lvl1pPr>
            <a:lvl2pPr marL="214313" indent="-214313">
              <a:buNone/>
              <a:defRPr lang="en-US" smtClean="0">
                <a:solidFill>
                  <a:schemeClr val="accent1"/>
                </a:solidFill>
                <a:sym typeface="+mn-lt"/>
              </a:defRPr>
            </a:lvl2pPr>
            <a:lvl3pPr marL="270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3pPr>
            <a:lvl4pPr marL="405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4pPr>
            <a:lvl5pPr marL="540000" indent="0">
              <a:buNone/>
              <a:defRPr lang="en-GB" sz="750">
                <a:solidFill>
                  <a:schemeClr val="accent2"/>
                </a:solidFill>
                <a:sym typeface="+mn-lt"/>
              </a:defRPr>
            </a:lvl5pPr>
          </a:lstStyle>
          <a:p>
            <a:pPr marL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/>
              <a:t>Heading 1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4413571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84653-0C55-D30B-E948-9B047FDAB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792B6C-6934-1A0D-5BE3-0D9F7E3F4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3716A2-5557-C682-6FB7-8E7F31810F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F4B88-77B7-4D75-9138-C147106BF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2CB76-1BAF-A1F8-7B2D-34C0AA9E3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2389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892A6-27A4-9DAD-EFB4-FE30B5BFB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1451A-65DA-2949-1D5F-FE9A296132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F58093-1FBF-E671-B052-E0DBEF3A69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5CFCCB-135F-8A51-A4CC-7C8F289FD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5A9F3B-2305-58F2-6B7E-A4E24A8FB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637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83B01-1BE2-E71A-A1BF-9BE2A10EB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BB71F3-C404-FF60-E377-D4DBF5963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A51A13-951D-2126-D3FA-12B150000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5D7AAF-F603-19CE-6B11-71430FDB7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E64745-1A7F-04F0-37F4-E92BA4B1B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4924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F6D79-2BE3-8404-671C-7EDB29E35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075C07-0B74-1FB7-108F-47BFBFFCD9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0A794B-773C-7DD5-F982-1DF07B5F7E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910EF5-3EA6-096E-3F87-9D794A3B6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04E744-8C45-7F08-1AED-718E59DE6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F1A64-168C-361B-A2B2-4AA846FE1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0123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016677-22AE-1FB1-33A1-B3968B427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96BCE2-F23C-3CC9-6D38-75BD63E14A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0262DF-B7D6-FB52-2D90-C224C2F874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DC31A7-9FC4-8D9B-F9A4-708BC96DE3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9EA19A-BFD9-1122-ABCC-8FA589D90C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EBC42FF-7A24-F332-03F0-3C336D05A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29DA24-DFC9-B3D5-CC6F-AA305626A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79D8F6-EAE8-0ACF-B641-97AF8E1237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610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35FE4-0F74-D3D8-4984-FE9A18243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6C882E-D99D-C0EA-F5ED-7CC4AF492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602CD4-33F6-E301-FBE0-2BB51508E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9B6B9F-B3CB-89F2-A2EE-79976EB9F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795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1265438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190501-E4C7-A8B8-ACFC-603FDFD2A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7E6293-D640-DB3A-C34D-3DEF248BD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7343B-33E1-9C13-2718-8FDE355AA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7955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D9739-8483-A601-E5C9-DB23B5D51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6370B-3A6D-7B46-132A-90C14E64C9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A494B3-8709-8EDF-21BD-A52287D5A5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E57E9D-47F2-FAD2-DD25-B693D2A5E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58603B-AC31-6BB0-8328-CBD749219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47AB0-948E-B86E-1EA4-C134BEC0C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3374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D0A008-7240-F643-5201-77F739767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2C7814-40B4-1E08-00B3-48081D786D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CDC7B9-0EBA-FCF9-00B5-4049DB5C3A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A87642-3300-F727-B638-4684118CA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FEF2-145C-C0A3-E0CE-B288B57DF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E5CD41-B42F-9429-5D30-054D8C908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891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1E38A-5241-73E6-C32A-4E1CA979B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503CA8-A261-552B-3E30-2F42D044B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A8155-E7DE-F1F6-C7A2-F4F2451BA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43425-BB8F-654A-FF82-057580E7A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15343-6451-849E-2C7B-5632E8AC4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88365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4FFA6B-B08D-3235-193E-9AD48514F1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D806693-44A1-394D-65B8-F5E713997D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0FB35C-F272-466D-3DC3-66389A45F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BD95B-49B7-0CB5-FF15-D436FE3AE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37C09B-F858-0170-3313-3336533A7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966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857485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11575077" y="6586493"/>
            <a:ext cx="389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342900" fontAlgn="base">
              <a:spcBef>
                <a:spcPct val="0"/>
              </a:spcBef>
              <a:spcAft>
                <a:spcPct val="0"/>
              </a:spcAft>
            </a:pPr>
            <a:fld id="{61EB682E-F9F7-A84A-866D-693BB3909AC4}" type="slidenum">
              <a:rPr lang="en-US" sz="600">
                <a:solidFill>
                  <a:srgbClr val="000000"/>
                </a:solidFill>
                <a:ea typeface="Arial"/>
                <a:cs typeface="Arial" charset="0"/>
              </a:rPr>
              <a:pPr algn="r" defTabSz="3429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00">
              <a:solidFill>
                <a:srgbClr val="000000"/>
              </a:solidFill>
              <a:ea typeface="Arial"/>
              <a:cs typeface="Arial" charset="0"/>
            </a:endParaRP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2" y="6594321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5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3" r:id="rId22"/>
    <p:sldLayoutId id="2147483684" r:id="rId23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17026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rgbClr val="000000"/>
          </a:solidFill>
          <a:latin typeface="+mn-lt"/>
          <a:ea typeface="Arial"/>
          <a:cs typeface="Arial"/>
        </a:defRPr>
      </a:lvl1pPr>
      <a:lvl2pPr marL="340519" indent="-17026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2pPr>
      <a:lvl3pPr marL="516731" indent="-176213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3pPr>
      <a:lvl4pPr marL="686991" indent="-170260" algn="l" defTabSz="427435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4pPr>
      <a:lvl5pPr marL="85725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11575077" y="6586493"/>
            <a:ext cx="389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342900" fontAlgn="base">
              <a:spcBef>
                <a:spcPct val="0"/>
              </a:spcBef>
              <a:spcAft>
                <a:spcPct val="0"/>
              </a:spcAft>
            </a:pPr>
            <a:fld id="{61EB682E-F9F7-A84A-866D-693BB3909AC4}" type="slidenum">
              <a:rPr lang="en-US" sz="600">
                <a:solidFill>
                  <a:srgbClr val="000000"/>
                </a:solidFill>
                <a:ea typeface="Arial"/>
                <a:cs typeface="Arial" charset="0"/>
              </a:rPr>
              <a:pPr algn="r" defTabSz="3429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00">
              <a:solidFill>
                <a:srgbClr val="000000"/>
              </a:solidFill>
              <a:ea typeface="Arial"/>
              <a:cs typeface="Arial" charset="0"/>
            </a:endParaRP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2" y="6594321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77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17026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rgbClr val="000000"/>
          </a:solidFill>
          <a:latin typeface="+mn-lt"/>
          <a:ea typeface="Arial"/>
          <a:cs typeface="Arial"/>
        </a:defRPr>
      </a:lvl1pPr>
      <a:lvl2pPr marL="340519" indent="-17026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2pPr>
      <a:lvl3pPr marL="516731" indent="-176213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3pPr>
      <a:lvl4pPr marL="686991" indent="-170260" algn="l" defTabSz="427435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4pPr>
      <a:lvl5pPr marL="85725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1" y="6419110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977285" y="6462315"/>
            <a:ext cx="605116" cy="227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US" sz="800" smtClean="0">
                <a:latin typeface="+mn-lt"/>
                <a:ea typeface="Arial"/>
                <a:cs typeface="Arial" charset="0"/>
              </a:defRPr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US" sz="800">
                <a:latin typeface="+mn-lt"/>
                <a:ea typeface="Arial"/>
                <a:cs typeface="Arial" charset="0"/>
              </a:defRPr>
            </a:lvl1pPr>
          </a:lstStyle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673035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227013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2000" kern="1200">
          <a:solidFill>
            <a:srgbClr val="000000"/>
          </a:solidFill>
          <a:latin typeface="+mn-lt"/>
          <a:ea typeface="Arial"/>
          <a:cs typeface="Arial"/>
        </a:defRPr>
      </a:lvl1pPr>
      <a:lvl2pPr marL="454025" indent="-227013" algn="l" defTabSz="457200" rtl="0" eaLnBrk="1" fontAlgn="base" hangingPunct="1">
        <a:spcBef>
          <a:spcPts val="60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2pPr>
      <a:lvl3pPr marL="688975" indent="-234950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3pPr>
      <a:lvl4pPr marL="915988" indent="-227013" algn="l" defTabSz="569913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4pPr>
      <a:lvl5pPr marL="1143000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11575077" y="6586493"/>
            <a:ext cx="389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342900" fontAlgn="base">
              <a:spcBef>
                <a:spcPct val="0"/>
              </a:spcBef>
              <a:spcAft>
                <a:spcPct val="0"/>
              </a:spcAft>
            </a:pPr>
            <a:fld id="{61EB682E-F9F7-A84A-866D-693BB3909AC4}" type="slidenum">
              <a:rPr lang="en-US" sz="600">
                <a:solidFill>
                  <a:srgbClr val="000000"/>
                </a:solidFill>
                <a:ea typeface="Arial"/>
                <a:cs typeface="Arial" charset="0"/>
              </a:rPr>
              <a:pPr algn="r" defTabSz="3429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00">
              <a:solidFill>
                <a:srgbClr val="000000"/>
              </a:solidFill>
              <a:ea typeface="Arial"/>
              <a:cs typeface="Arial" charset="0"/>
            </a:endParaRP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2" y="6594321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44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17026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rgbClr val="000000"/>
          </a:solidFill>
          <a:latin typeface="+mn-lt"/>
          <a:ea typeface="Arial"/>
          <a:cs typeface="Arial"/>
        </a:defRPr>
      </a:lvl1pPr>
      <a:lvl2pPr marL="340519" indent="-17026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2pPr>
      <a:lvl3pPr marL="516731" indent="-176213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3pPr>
      <a:lvl4pPr marL="686991" indent="-170260" algn="l" defTabSz="427435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4pPr>
      <a:lvl5pPr marL="85725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349FA1C-5269-8B03-BF35-23D912C98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7B95C1-4CC0-046A-AF4F-9B90C0CFA0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8ED6D6-94AE-D880-80D6-FEC9889014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67787B-60A9-4367-AF56-CF92354B6159}" type="datetimeFigureOut">
              <a:rPr lang="en-US" smtClean="0"/>
              <a:t>3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CD2FA-4D5B-3625-B9FD-2D8EE12140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2DFE42-B082-943E-4674-1AACC450C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614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Relationship Id="rId5" Type="http://schemas.openxmlformats.org/officeDocument/2006/relationships/slide" Target="slide9.xml"/><Relationship Id="rId4" Type="http://schemas.openxmlformats.org/officeDocument/2006/relationships/image" Target="../media/image10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6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1.sv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20.png"/><Relationship Id="rId4" Type="http://schemas.openxmlformats.org/officeDocument/2006/relationships/tags" Target="../tags/tag17.xml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tags" Target="../tags/tag20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26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25.png"/><Relationship Id="rId4" Type="http://schemas.openxmlformats.org/officeDocument/2006/relationships/tags" Target="../tags/tag21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0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0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3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6.xml"/><Relationship Id="rId7" Type="http://schemas.openxmlformats.org/officeDocument/2006/relationships/image" Target="../media/image31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37.xml"/><Relationship Id="rId9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10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4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4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38.png"/><Relationship Id="rId3" Type="http://schemas.openxmlformats.org/officeDocument/2006/relationships/tags" Target="../tags/tag44.xml"/><Relationship Id="rId7" Type="http://schemas.openxmlformats.org/officeDocument/2006/relationships/image" Target="../media/image35.png"/><Relationship Id="rId12" Type="http://schemas.openxmlformats.org/officeDocument/2006/relationships/image" Target="../media/image30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24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22.png"/><Relationship Id="rId4" Type="http://schemas.openxmlformats.org/officeDocument/2006/relationships/tags" Target="../tags/tag45.xml"/><Relationship Id="rId9" Type="http://schemas.openxmlformats.org/officeDocument/2006/relationships/image" Target="../media/image37.png"/><Relationship Id="rId1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48.xml"/><Relationship Id="rId7" Type="http://schemas.openxmlformats.org/officeDocument/2006/relationships/image" Target="../media/image39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49.xml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5.xml"/><Relationship Id="rId3" Type="http://schemas.openxmlformats.org/officeDocument/2006/relationships/slideLayout" Target="../slideLayouts/slideLayout80.xml"/><Relationship Id="rId7" Type="http://schemas.openxmlformats.org/officeDocument/2006/relationships/slide" Target="slide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" Target="slide11.xml"/><Relationship Id="rId5" Type="http://schemas.openxmlformats.org/officeDocument/2006/relationships/slide" Target="slide12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10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52.xml"/><Relationship Id="rId7" Type="http://schemas.openxmlformats.org/officeDocument/2006/relationships/image" Target="../media/image42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5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56.xml"/><Relationship Id="rId7" Type="http://schemas.openxmlformats.org/officeDocument/2006/relationships/image" Target="../media/image44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57.xml"/><Relationship Id="rId9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tags" Target="../tags/tag60.xml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22.xml"/><Relationship Id="rId11" Type="http://schemas.openxmlformats.org/officeDocument/2006/relationships/image" Target="../media/image51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50.png"/><Relationship Id="rId4" Type="http://schemas.openxmlformats.org/officeDocument/2006/relationships/tags" Target="../tags/tag61.xml"/><Relationship Id="rId9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Relationship Id="rId5" Type="http://schemas.openxmlformats.org/officeDocument/2006/relationships/slide" Target="slide9.xml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4.xml"/><Relationship Id="rId5" Type="http://schemas.openxmlformats.org/officeDocument/2006/relationships/slide" Target="slide9.xml"/><Relationship Id="rId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4.xml"/><Relationship Id="rId5" Type="http://schemas.openxmlformats.org/officeDocument/2006/relationships/slide" Target="slide9.xml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12.xml"/><Relationship Id="rId7" Type="http://schemas.openxmlformats.org/officeDocument/2006/relationships/chart" Target="../charts/chart1.xml"/><Relationship Id="rId12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13.png"/><Relationship Id="rId4" Type="http://schemas.openxmlformats.org/officeDocument/2006/relationships/tags" Target="../tags/tag13.xml"/><Relationship Id="rId9" Type="http://schemas.openxmlformats.org/officeDocument/2006/relationships/image" Target="../media/image12.png"/><Relationship Id="rId1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33971-3926-608E-0F3D-2F47209B6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2546AFA-C74D-8E02-03AF-7BBF7519C8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04E2F557-937F-51FB-53F2-7623D4421C29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15DAFAC7-2B5A-B21D-D78C-08B8C49A6833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3" name="Rectangle 2">
            <a:hlinkClick r:id="rId5" action="ppaction://hlinksldjump"/>
            <a:extLst>
              <a:ext uri="{FF2B5EF4-FFF2-40B4-BE49-F238E27FC236}">
                <a16:creationId xmlns:a16="http://schemas.microsoft.com/office/drawing/2014/main" id="{4359F663-E7BE-B2DC-ABEE-5FF7D18EF7E0}"/>
              </a:ext>
            </a:extLst>
          </p:cNvPr>
          <p:cNvSpPr/>
          <p:nvPr/>
        </p:nvSpPr>
        <p:spPr>
          <a:xfrm>
            <a:off x="817653" y="910624"/>
            <a:ext cx="9939804" cy="5121876"/>
          </a:xfrm>
          <a:prstGeom prst="rect">
            <a:avLst/>
          </a:prstGeom>
          <a:solidFill>
            <a:srgbClr val="7F7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D" sz="2000" b="1" dirty="0">
              <a:solidFill>
                <a:schemeClr val="bg1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81CA75-2690-EB8E-B2B3-633F9A963DD7}"/>
              </a:ext>
            </a:extLst>
          </p:cNvPr>
          <p:cNvSpPr txBox="1"/>
          <p:nvPr/>
        </p:nvSpPr>
        <p:spPr>
          <a:xfrm>
            <a:off x="1014523" y="1461184"/>
            <a:ext cx="993980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EYDS Data Engineering Technical Test</a:t>
            </a:r>
          </a:p>
          <a:p>
            <a:pPr>
              <a:lnSpc>
                <a:spcPct val="150000"/>
              </a:lnSpc>
              <a:defRPr/>
            </a:pP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izky Fajar Aditya – Jr. Data Engineer</a:t>
            </a:r>
          </a:p>
          <a:p>
            <a:pPr>
              <a:lnSpc>
                <a:spcPct val="150000"/>
              </a:lnSpc>
              <a:defRPr/>
            </a:pPr>
            <a:r>
              <a:rPr lang="en-US" sz="20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March 2025</a:t>
            </a:r>
          </a:p>
          <a:p>
            <a:pPr>
              <a:defRPr/>
            </a:pPr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ithub.com/</a:t>
            </a:r>
            <a:r>
              <a:rPr lang="en-US" dirty="0" err="1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izkyjarr</a:t>
            </a:r>
            <a:endParaRPr lang="en-US" sz="3200" b="1" dirty="0">
              <a:solidFill>
                <a:prstClr val="white"/>
              </a:solidFill>
              <a:latin typeface="Georgia" panose="02040502050405020303" pitchFamily="18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3085B4-D678-E122-C415-ED697AC5FC39}"/>
              </a:ext>
            </a:extLst>
          </p:cNvPr>
          <p:cNvSpPr/>
          <p:nvPr/>
        </p:nvSpPr>
        <p:spPr>
          <a:xfrm>
            <a:off x="1134480" y="1234954"/>
            <a:ext cx="976260" cy="45720"/>
          </a:xfrm>
          <a:prstGeom prst="rect">
            <a:avLst/>
          </a:prstGeom>
          <a:solidFill>
            <a:srgbClr val="FCE6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</p:spTree>
    <p:extLst>
      <p:ext uri="{BB962C8B-B14F-4D97-AF65-F5344CB8AC3E}">
        <p14:creationId xmlns:p14="http://schemas.microsoft.com/office/powerpoint/2010/main" val="21666610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gradFill flip="none" rotWithShape="1">
          <a:gsLst>
            <a:gs pos="65000">
              <a:srgbClr val="051C39"/>
            </a:gs>
            <a:gs pos="100000">
              <a:srgbClr val="133190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B967A3A-FF77-2620-FDA4-1F97931BCA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84C6E43-E24E-CAF3-B275-D24E091D1F3E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19ECDE69-0268-AF07-DCB2-5CAB4B5F9A6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F9DE70FF-B097-8179-7107-FB9A29BE918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0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D919DD5-4D6A-ED8B-549E-5EE4091648FE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AA84B92-4F82-8205-E63B-CADD29618491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46503FB6-A7B9-78FC-9D31-B26163A3A869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A4C59D76-1F2B-73A5-42EF-A6310E988CDE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2095C45-B088-9C1C-459E-93156DA2F1C7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B78E0B0B-6FAF-4B34-062E-F79C0B407897}"/>
              </a:ext>
            </a:extLst>
          </p:cNvPr>
          <p:cNvSpPr txBox="1"/>
          <p:nvPr/>
        </p:nvSpPr>
        <p:spPr>
          <a:xfrm>
            <a:off x="206943" y="478058"/>
            <a:ext cx="119850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Three project deliverables for Data Engineer were set to optimize building data pipeline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DA9A5EA3-A1CC-51D9-961F-C43E638C01A5}"/>
              </a:ext>
            </a:extLst>
          </p:cNvPr>
          <p:cNvCxnSpPr>
            <a:cxnSpLocks/>
          </p:cNvCxnSpPr>
          <p:nvPr/>
        </p:nvCxnSpPr>
        <p:spPr>
          <a:xfrm>
            <a:off x="300998" y="137091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1F1C8F87-8BDF-410D-F96F-9B28537C620B}"/>
              </a:ext>
            </a:extLst>
          </p:cNvPr>
          <p:cNvSpPr txBox="1"/>
          <p:nvPr/>
        </p:nvSpPr>
        <p:spPr>
          <a:xfrm>
            <a:off x="604450" y="2667503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 pipeline architecture</a:t>
            </a:r>
            <a:endParaRPr kumimoji="0" lang="en-US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E9391D27-BC83-69C9-CDD0-E0EDA42D4578}"/>
              </a:ext>
            </a:extLst>
          </p:cNvPr>
          <p:cNvCxnSpPr>
            <a:cxnSpLocks/>
          </p:cNvCxnSpPr>
          <p:nvPr/>
        </p:nvCxnSpPr>
        <p:spPr>
          <a:xfrm>
            <a:off x="703774" y="3036835"/>
            <a:ext cx="338295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892589C2-98DB-29FC-B12B-E4568F30579C}"/>
              </a:ext>
            </a:extLst>
          </p:cNvPr>
          <p:cNvSpPr txBox="1"/>
          <p:nvPr/>
        </p:nvSpPr>
        <p:spPr>
          <a:xfrm>
            <a:off x="4453009" y="2362353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uild automation logic flow</a:t>
            </a:r>
            <a:endParaRPr kumimoji="0" lang="en-US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3FE6A20-A15D-4FFD-572A-CC93FDBEC0FC}"/>
              </a:ext>
            </a:extLst>
          </p:cNvPr>
          <p:cNvCxnSpPr>
            <a:cxnSpLocks/>
          </p:cNvCxnSpPr>
          <p:nvPr/>
        </p:nvCxnSpPr>
        <p:spPr>
          <a:xfrm>
            <a:off x="4552333" y="2731685"/>
            <a:ext cx="3384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36ED96FE-F47A-A358-5D6B-13BECC791E15}"/>
              </a:ext>
            </a:extLst>
          </p:cNvPr>
          <p:cNvSpPr txBox="1"/>
          <p:nvPr/>
        </p:nvSpPr>
        <p:spPr>
          <a:xfrm>
            <a:off x="8445473" y="2130098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esult effectiveness</a:t>
            </a:r>
            <a:endParaRPr kumimoji="0" lang="en-US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81861C5-70D3-3540-AB08-F74204701902}"/>
              </a:ext>
            </a:extLst>
          </p:cNvPr>
          <p:cNvCxnSpPr>
            <a:cxnSpLocks/>
          </p:cNvCxnSpPr>
          <p:nvPr/>
        </p:nvCxnSpPr>
        <p:spPr>
          <a:xfrm>
            <a:off x="8544797" y="2499430"/>
            <a:ext cx="3384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DBDD57B4-9626-EFBE-FA25-77388ED6F757}"/>
              </a:ext>
            </a:extLst>
          </p:cNvPr>
          <p:cNvSpPr txBox="1"/>
          <p:nvPr/>
        </p:nvSpPr>
        <p:spPr>
          <a:xfrm>
            <a:off x="604450" y="2977304"/>
            <a:ext cx="3656446" cy="3607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in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 pipeline that’s robust and scalable to meet business needs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echnology stack selection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script language, data warehouse, transactional database,  orchestration tools, 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tc</a:t>
            </a: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ocessing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ELT or ETL, etc.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imensional data model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Star Schema, Snowflake, 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tc</a:t>
            </a: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ingestion method: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atch, stream, etc.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E597272-53F5-24F4-EF70-62C7186D9CCE}"/>
              </a:ext>
            </a:extLst>
          </p:cNvPr>
          <p:cNvSpPr txBox="1"/>
          <p:nvPr/>
        </p:nvSpPr>
        <p:spPr>
          <a:xfrm>
            <a:off x="4462738" y="2731685"/>
            <a:ext cx="3656446" cy="2960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ing automation logical flow within the data pipeline architecture, </a:t>
            </a: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o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 example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happens if error happens when ingesting the data?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needs to be done if there’s any datatype mismatch between database and data warehouse?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would happen if the required table has not existed in data warehouse?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465CF6C2-D280-9EE7-F312-9B409D738DAB}"/>
              </a:ext>
            </a:extLst>
          </p:cNvPr>
          <p:cNvSpPr txBox="1"/>
          <p:nvPr/>
        </p:nvSpPr>
        <p:spPr>
          <a:xfrm>
            <a:off x="8493681" y="2446613"/>
            <a:ext cx="3656446" cy="3284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s a data engineer, it’s essential to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sure the data engineering design is well implemented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sure the data generated by the pipeline is 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ccessible and usable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or analyst or relevant stakeholders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abling data-driven decision making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y providing actionable insights through well-structured and reliable data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sure 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ivacy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s secure</a:t>
            </a: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37F981BE-3283-9DA6-FF8C-81E4F4014E15}"/>
              </a:ext>
            </a:extLst>
          </p:cNvPr>
          <p:cNvSpPr/>
          <p:nvPr/>
        </p:nvSpPr>
        <p:spPr>
          <a:xfrm>
            <a:off x="263203" y="2064949"/>
            <a:ext cx="588393" cy="58839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68E70A6-8491-328E-2233-9673AD565B56}"/>
              </a:ext>
            </a:extLst>
          </p:cNvPr>
          <p:cNvCxnSpPr>
            <a:cxnSpLocks/>
          </p:cNvCxnSpPr>
          <p:nvPr/>
        </p:nvCxnSpPr>
        <p:spPr>
          <a:xfrm>
            <a:off x="544690" y="2653342"/>
            <a:ext cx="0" cy="400586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Oval 136">
            <a:extLst>
              <a:ext uri="{FF2B5EF4-FFF2-40B4-BE49-F238E27FC236}">
                <a16:creationId xmlns:a16="http://schemas.microsoft.com/office/drawing/2014/main" id="{D66049F6-8C24-3B7E-2D9C-EC550487301D}"/>
              </a:ext>
            </a:extLst>
          </p:cNvPr>
          <p:cNvSpPr/>
          <p:nvPr/>
        </p:nvSpPr>
        <p:spPr>
          <a:xfrm>
            <a:off x="4036037" y="1867963"/>
            <a:ext cx="588393" cy="58839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5B7CBF77-D965-95EA-1E56-A5E654E34250}"/>
              </a:ext>
            </a:extLst>
          </p:cNvPr>
          <p:cNvSpPr/>
          <p:nvPr/>
        </p:nvSpPr>
        <p:spPr>
          <a:xfrm>
            <a:off x="7957491" y="1663153"/>
            <a:ext cx="588393" cy="58839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CC793322-4B61-BA07-3850-6DD6026C70FF}"/>
              </a:ext>
            </a:extLst>
          </p:cNvPr>
          <p:cNvCxnSpPr>
            <a:cxnSpLocks/>
            <a:stCxn id="137" idx="4"/>
          </p:cNvCxnSpPr>
          <p:nvPr/>
        </p:nvCxnSpPr>
        <p:spPr>
          <a:xfrm flipH="1">
            <a:off x="4330233" y="2456356"/>
            <a:ext cx="1" cy="4145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6301CBB6-A24C-2D87-5FCC-B77C02467D86}"/>
              </a:ext>
            </a:extLst>
          </p:cNvPr>
          <p:cNvCxnSpPr>
            <a:cxnSpLocks/>
            <a:stCxn id="140" idx="4"/>
          </p:cNvCxnSpPr>
          <p:nvPr/>
        </p:nvCxnSpPr>
        <p:spPr>
          <a:xfrm flipH="1">
            <a:off x="8251687" y="2251546"/>
            <a:ext cx="1" cy="440766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2" name="Graphic 151">
            <a:extLst>
              <a:ext uri="{FF2B5EF4-FFF2-40B4-BE49-F238E27FC236}">
                <a16:creationId xmlns:a16="http://schemas.microsoft.com/office/drawing/2014/main" id="{25E7CE34-169C-F69E-F30C-029B1C06C1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630" y="2115921"/>
            <a:ext cx="441296" cy="449038"/>
          </a:xfrm>
          <a:prstGeom prst="rect">
            <a:avLst/>
          </a:prstGeom>
        </p:spPr>
      </p:pic>
      <p:pic>
        <p:nvPicPr>
          <p:cNvPr id="154" name="Picture 153">
            <a:extLst>
              <a:ext uri="{FF2B5EF4-FFF2-40B4-BE49-F238E27FC236}">
                <a16:creationId xmlns:a16="http://schemas.microsoft.com/office/drawing/2014/main" id="{C61B47DF-DF7A-B98B-89F5-24B2770E1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4447" y="1927275"/>
            <a:ext cx="463340" cy="463340"/>
          </a:xfrm>
          <a:prstGeom prst="rect">
            <a:avLst/>
          </a:prstGeom>
        </p:spPr>
      </p:pic>
      <p:pic>
        <p:nvPicPr>
          <p:cNvPr id="156" name="Graphic 155">
            <a:extLst>
              <a:ext uri="{FF2B5EF4-FFF2-40B4-BE49-F238E27FC236}">
                <a16:creationId xmlns:a16="http://schemas.microsoft.com/office/drawing/2014/main" id="{BA1BF6BA-29C4-D2D5-6A96-81A32A8CD79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40655" y="1787166"/>
            <a:ext cx="422063" cy="422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5718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52EBCDA-2E65-8C3C-E463-DBB8AA7F61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4C34E87C-E343-FD7A-3AFB-839BEC4B9CC4}"/>
              </a:ext>
            </a:extLst>
          </p:cNvPr>
          <p:cNvSpPr/>
          <p:nvPr/>
        </p:nvSpPr>
        <p:spPr>
          <a:xfrm>
            <a:off x="2004715" y="1402103"/>
            <a:ext cx="9746412" cy="4103802"/>
          </a:xfrm>
          <a:prstGeom prst="roundRect">
            <a:avLst>
              <a:gd name="adj" fmla="val 389"/>
            </a:avLst>
          </a:prstGeom>
          <a:solidFill>
            <a:srgbClr val="FBFBFB"/>
          </a:solidFill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E762657-6E26-0F22-2346-D662B215C69C}"/>
              </a:ext>
            </a:extLst>
          </p:cNvPr>
          <p:cNvGrpSpPr/>
          <p:nvPr/>
        </p:nvGrpSpPr>
        <p:grpSpPr>
          <a:xfrm>
            <a:off x="10191754" y="6457114"/>
            <a:ext cx="1751177" cy="139126"/>
            <a:chOff x="9886849" y="6498754"/>
            <a:chExt cx="1751177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7E2A5C57-7D81-CB04-A3A6-2DCA55A59ABD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886849" y="6499381"/>
              <a:ext cx="164628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 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2348DE06-2D7A-7D6F-73D7-47B292E1370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1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F16882D-FD2B-A70C-43C2-79B1303E807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3F9C41-C6DD-51D9-CBEB-B3584E7E8B5C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231476BE-3274-657E-308B-5145BE9E62CA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ED636728-15FB-2DF7-DA20-005B6B8863C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BEA0B74-FFAB-78B0-3E71-2868FA488596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1265977-2F31-9DA6-D2B7-85040CB02DA3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1</a:t>
            </a:r>
            <a:r>
              <a:rPr kumimoji="0" lang="en-US" sz="2400" b="1" i="0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st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Design Pipeline Architecture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5625BD3-EBDD-703B-7031-00FD57B8FF9E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B9E27671-C5A7-DB1C-B0D5-A07895CE85CE}"/>
              </a:ext>
            </a:extLst>
          </p:cNvPr>
          <p:cNvGrpSpPr/>
          <p:nvPr/>
        </p:nvGrpSpPr>
        <p:grpSpPr>
          <a:xfrm>
            <a:off x="133627" y="1511358"/>
            <a:ext cx="1404486" cy="3795145"/>
            <a:chOff x="359055" y="1314974"/>
            <a:chExt cx="1404486" cy="379514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54D4421-FAA0-9F1E-1702-53338685E814}"/>
                </a:ext>
              </a:extLst>
            </p:cNvPr>
            <p:cNvSpPr txBox="1"/>
            <p:nvPr/>
          </p:nvSpPr>
          <p:spPr>
            <a:xfrm>
              <a:off x="359055" y="1314974"/>
              <a:ext cx="1404486" cy="446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ource Data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Relational DB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2A016055-3A86-E187-71D6-2C346132E186}"/>
                </a:ext>
              </a:extLst>
            </p:cNvPr>
            <p:cNvGrpSpPr/>
            <p:nvPr/>
          </p:nvGrpSpPr>
          <p:grpSpPr>
            <a:xfrm>
              <a:off x="519392" y="1838194"/>
              <a:ext cx="1083811" cy="3271925"/>
              <a:chOff x="405543" y="1693775"/>
              <a:chExt cx="1083811" cy="3271925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9E02E5A2-B252-F2A5-11C2-71767C490832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61A1D845-7F4C-7F5C-0946-9C32EAF29452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D1837654-FCA5-3027-EF69-3F99F08CA206}"/>
                  </a:ext>
                </a:extLst>
              </p:cNvPr>
              <p:cNvGrpSpPr/>
              <p:nvPr/>
            </p:nvGrpSpPr>
            <p:grpSpPr>
              <a:xfrm>
                <a:off x="505604" y="1842901"/>
                <a:ext cx="924328" cy="656003"/>
                <a:chOff x="508144" y="1842901"/>
                <a:chExt cx="924328" cy="656003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A105A082-E048-E43C-2300-835449E6E3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184290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A5F48FE8-40AC-1757-4FA7-2745B5FBA58F}"/>
                    </a:ext>
                  </a:extLst>
                </p:cNvPr>
                <p:cNvSpPr txBox="1"/>
                <p:nvPr/>
              </p:nvSpPr>
              <p:spPr>
                <a:xfrm>
                  <a:off x="508144" y="2221905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customer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C40A1E3C-68A0-C37A-D73B-DDDE2529875E}"/>
                  </a:ext>
                </a:extLst>
              </p:cNvPr>
              <p:cNvGrpSpPr/>
              <p:nvPr/>
            </p:nvGrpSpPr>
            <p:grpSpPr>
              <a:xfrm>
                <a:off x="505604" y="2612100"/>
                <a:ext cx="924328" cy="650501"/>
                <a:chOff x="505604" y="2558913"/>
                <a:chExt cx="924328" cy="650501"/>
              </a:xfrm>
            </p:grpSpPr>
            <p:pic>
              <p:nvPicPr>
                <p:cNvPr id="57" name="Picture 56">
                  <a:extLst>
                    <a:ext uri="{FF2B5EF4-FFF2-40B4-BE49-F238E27FC236}">
                      <a16:creationId xmlns:a16="http://schemas.microsoft.com/office/drawing/2014/main" id="{A0595DB3-9FAD-F7AB-DF66-BDADE0B948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558913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3593AA87-4E1B-0735-8499-DEFA5C22F8F4}"/>
                    </a:ext>
                  </a:extLst>
                </p:cNvPr>
                <p:cNvSpPr txBox="1"/>
                <p:nvPr/>
              </p:nvSpPr>
              <p:spPr>
                <a:xfrm>
                  <a:off x="505604" y="2932415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driver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DADE5E60-5ABF-0496-B8E7-062F5ADFC0A9}"/>
                  </a:ext>
                </a:extLst>
              </p:cNvPr>
              <p:cNvGrpSpPr/>
              <p:nvPr/>
            </p:nvGrpSpPr>
            <p:grpSpPr>
              <a:xfrm>
                <a:off x="505604" y="3375797"/>
                <a:ext cx="924328" cy="659717"/>
                <a:chOff x="505604" y="3244956"/>
                <a:chExt cx="924328" cy="659717"/>
              </a:xfrm>
            </p:grpSpPr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64A3DEFE-0F85-5391-E323-1F82B11009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3244956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11493085-ACF0-8483-2685-9EE9FC5D4DF3}"/>
                    </a:ext>
                  </a:extLst>
                </p:cNvPr>
                <p:cNvSpPr txBox="1"/>
                <p:nvPr/>
              </p:nvSpPr>
              <p:spPr>
                <a:xfrm>
                  <a:off x="505604" y="3627674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vehicle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A9D36DD9-A79B-E139-2886-71C8A06D34C7}"/>
                  </a:ext>
                </a:extLst>
              </p:cNvPr>
              <p:cNvGrpSpPr/>
              <p:nvPr/>
            </p:nvGrpSpPr>
            <p:grpSpPr>
              <a:xfrm>
                <a:off x="505604" y="4148711"/>
                <a:ext cx="924328" cy="674340"/>
                <a:chOff x="505604" y="4148711"/>
                <a:chExt cx="924328" cy="674340"/>
              </a:xfrm>
            </p:grpSpPr>
            <p:pic>
              <p:nvPicPr>
                <p:cNvPr id="61" name="Picture 60">
                  <a:extLst>
                    <a:ext uri="{FF2B5EF4-FFF2-40B4-BE49-F238E27FC236}">
                      <a16:creationId xmlns:a16="http://schemas.microsoft.com/office/drawing/2014/main" id="{89EB010B-415B-7908-9AC3-50127BF733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414871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8531570D-04CA-7A4B-BD80-C541CA23795B}"/>
                    </a:ext>
                  </a:extLst>
                </p:cNvPr>
                <p:cNvSpPr txBox="1"/>
                <p:nvPr/>
              </p:nvSpPr>
              <p:spPr>
                <a:xfrm>
                  <a:off x="505604" y="4546052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ride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EE5BE66B-5260-7686-6581-2EBF4970487A}"/>
              </a:ext>
            </a:extLst>
          </p:cNvPr>
          <p:cNvGrpSpPr/>
          <p:nvPr/>
        </p:nvGrpSpPr>
        <p:grpSpPr>
          <a:xfrm>
            <a:off x="1839320" y="1511358"/>
            <a:ext cx="2571623" cy="3795145"/>
            <a:chOff x="2001248" y="1479002"/>
            <a:chExt cx="2571623" cy="3795145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7F852420-FD65-7BE6-CE04-C3D9801A60BE}"/>
                </a:ext>
              </a:extLst>
            </p:cNvPr>
            <p:cNvGrpSpPr/>
            <p:nvPr/>
          </p:nvGrpSpPr>
          <p:grpSpPr>
            <a:xfrm>
              <a:off x="2745155" y="2002222"/>
              <a:ext cx="1083811" cy="3271925"/>
              <a:chOff x="405543" y="1693775"/>
              <a:chExt cx="1083811" cy="3271925"/>
            </a:xfrm>
          </p:grpSpPr>
          <p:sp>
            <p:nvSpPr>
              <p:cNvPr id="150" name="Rectangle: Rounded Corners 149">
                <a:extLst>
                  <a:ext uri="{FF2B5EF4-FFF2-40B4-BE49-F238E27FC236}">
                    <a16:creationId xmlns:a16="http://schemas.microsoft.com/office/drawing/2014/main" id="{056EC8BC-E6C4-26E8-9E51-72D99AC718A1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151" name="Rectangle: Rounded Corners 150">
                <a:extLst>
                  <a:ext uri="{FF2B5EF4-FFF2-40B4-BE49-F238E27FC236}">
                    <a16:creationId xmlns:a16="http://schemas.microsoft.com/office/drawing/2014/main" id="{0A1D4D3F-3AB8-8068-FD6C-42689D4A23B3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6025BD96-8899-84A8-7879-51F42259D5E9}"/>
                  </a:ext>
                </a:extLst>
              </p:cNvPr>
              <p:cNvGrpSpPr/>
              <p:nvPr/>
            </p:nvGrpSpPr>
            <p:grpSpPr>
              <a:xfrm>
                <a:off x="415859" y="1842901"/>
                <a:ext cx="1062295" cy="640614"/>
                <a:chOff x="418399" y="1842901"/>
                <a:chExt cx="1062295" cy="640614"/>
              </a:xfrm>
            </p:grpSpPr>
            <p:pic>
              <p:nvPicPr>
                <p:cNvPr id="162" name="Picture 161">
                  <a:extLst>
                    <a:ext uri="{FF2B5EF4-FFF2-40B4-BE49-F238E27FC236}">
                      <a16:creationId xmlns:a16="http://schemas.microsoft.com/office/drawing/2014/main" id="{E5F2FBB5-3532-BFC7-13B1-38358CCC0C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184290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3F88ABAC-65D5-FFB0-C933-D047097BBCD1}"/>
                    </a:ext>
                  </a:extLst>
                </p:cNvPr>
                <p:cNvSpPr txBox="1"/>
                <p:nvPr/>
              </p:nvSpPr>
              <p:spPr>
                <a:xfrm>
                  <a:off x="418399" y="2221905"/>
                  <a:ext cx="106229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Customer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35FE66CC-4A38-0734-D40F-12251747061C}"/>
                  </a:ext>
                </a:extLst>
              </p:cNvPr>
              <p:cNvGrpSpPr/>
              <p:nvPr/>
            </p:nvGrpSpPr>
            <p:grpSpPr>
              <a:xfrm>
                <a:off x="505604" y="2612100"/>
                <a:ext cx="924328" cy="635112"/>
                <a:chOff x="505604" y="2558913"/>
                <a:chExt cx="924328" cy="635112"/>
              </a:xfrm>
            </p:grpSpPr>
            <p:pic>
              <p:nvPicPr>
                <p:cNvPr id="160" name="Picture 159">
                  <a:extLst>
                    <a:ext uri="{FF2B5EF4-FFF2-40B4-BE49-F238E27FC236}">
                      <a16:creationId xmlns:a16="http://schemas.microsoft.com/office/drawing/2014/main" id="{C905B20F-9AC0-B5C5-ABA1-A6A000F333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558913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61" name="TextBox 160">
                  <a:extLst>
                    <a:ext uri="{FF2B5EF4-FFF2-40B4-BE49-F238E27FC236}">
                      <a16:creationId xmlns:a16="http://schemas.microsoft.com/office/drawing/2014/main" id="{0B593312-06B1-7F07-72C7-9F662D1EA8E4}"/>
                    </a:ext>
                  </a:extLst>
                </p:cNvPr>
                <p:cNvSpPr txBox="1"/>
                <p:nvPr/>
              </p:nvSpPr>
              <p:spPr>
                <a:xfrm>
                  <a:off x="505604" y="2932415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driver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A86486F0-8CBE-6F32-3748-498A8B6093C2}"/>
                  </a:ext>
                </a:extLst>
              </p:cNvPr>
              <p:cNvGrpSpPr/>
              <p:nvPr/>
            </p:nvGrpSpPr>
            <p:grpSpPr>
              <a:xfrm>
                <a:off x="443448" y="3375797"/>
                <a:ext cx="986484" cy="644328"/>
                <a:chOff x="443448" y="3244956"/>
                <a:chExt cx="986484" cy="644328"/>
              </a:xfrm>
            </p:grpSpPr>
            <p:pic>
              <p:nvPicPr>
                <p:cNvPr id="158" name="Picture 157">
                  <a:extLst>
                    <a:ext uri="{FF2B5EF4-FFF2-40B4-BE49-F238E27FC236}">
                      <a16:creationId xmlns:a16="http://schemas.microsoft.com/office/drawing/2014/main" id="{E437569E-95BD-B9BD-189B-72068B6D01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3244956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59" name="TextBox 158">
                  <a:extLst>
                    <a:ext uri="{FF2B5EF4-FFF2-40B4-BE49-F238E27FC236}">
                      <a16:creationId xmlns:a16="http://schemas.microsoft.com/office/drawing/2014/main" id="{021CA9F5-CF72-2F8F-F27C-9F91E2C11B8B}"/>
                    </a:ext>
                  </a:extLst>
                </p:cNvPr>
                <p:cNvSpPr txBox="1"/>
                <p:nvPr/>
              </p:nvSpPr>
              <p:spPr>
                <a:xfrm>
                  <a:off x="443448" y="3627674"/>
                  <a:ext cx="98648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Vehicle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5" name="Group 154">
                <a:extLst>
                  <a:ext uri="{FF2B5EF4-FFF2-40B4-BE49-F238E27FC236}">
                    <a16:creationId xmlns:a16="http://schemas.microsoft.com/office/drawing/2014/main" id="{A57317B1-335B-BA12-40D0-C9CB2BD836D7}"/>
                  </a:ext>
                </a:extLst>
              </p:cNvPr>
              <p:cNvGrpSpPr/>
              <p:nvPr/>
            </p:nvGrpSpPr>
            <p:grpSpPr>
              <a:xfrm>
                <a:off x="505604" y="4148711"/>
                <a:ext cx="924328" cy="658951"/>
                <a:chOff x="505604" y="4148711"/>
                <a:chExt cx="924328" cy="658951"/>
              </a:xfrm>
            </p:grpSpPr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4B2B8557-FF3E-E88C-0A75-1F465754E3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414871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57" name="TextBox 156">
                  <a:extLst>
                    <a:ext uri="{FF2B5EF4-FFF2-40B4-BE49-F238E27FC236}">
                      <a16:creationId xmlns:a16="http://schemas.microsoft.com/office/drawing/2014/main" id="{60185F84-0A8B-99D7-1DDD-16A4F8BDF72A}"/>
                    </a:ext>
                  </a:extLst>
                </p:cNvPr>
                <p:cNvSpPr txBox="1"/>
                <p:nvPr/>
              </p:nvSpPr>
              <p:spPr>
                <a:xfrm>
                  <a:off x="505604" y="4546052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Ride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14C2A7AF-2EB8-DA25-7613-020858DE08CF}"/>
                </a:ext>
              </a:extLst>
            </p:cNvPr>
            <p:cNvSpPr txBox="1"/>
            <p:nvPr/>
          </p:nvSpPr>
          <p:spPr>
            <a:xfrm>
              <a:off x="2001248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ource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source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39C47D47-15B5-DC1C-DE47-B98DF4C47EDD}"/>
              </a:ext>
            </a:extLst>
          </p:cNvPr>
          <p:cNvGrpSpPr/>
          <p:nvPr/>
        </p:nvGrpSpPr>
        <p:grpSpPr>
          <a:xfrm>
            <a:off x="6888142" y="1511358"/>
            <a:ext cx="2571623" cy="3795145"/>
            <a:chOff x="7304921" y="1479002"/>
            <a:chExt cx="2571623" cy="3795145"/>
          </a:xfrm>
        </p:grpSpPr>
        <p:sp>
          <p:nvSpPr>
            <p:cNvPr id="182" name="Rectangle: Rounded Corners 181">
              <a:extLst>
                <a:ext uri="{FF2B5EF4-FFF2-40B4-BE49-F238E27FC236}">
                  <a16:creationId xmlns:a16="http://schemas.microsoft.com/office/drawing/2014/main" id="{6E9F5C1A-6EE9-DD8E-03CA-EFEEA4166B79}"/>
                </a:ext>
              </a:extLst>
            </p:cNvPr>
            <p:cNvSpPr/>
            <p:nvPr/>
          </p:nvSpPr>
          <p:spPr>
            <a:xfrm>
              <a:off x="8048828" y="2002222"/>
              <a:ext cx="1083811" cy="3271925"/>
            </a:xfrm>
            <a:prstGeom prst="roundRect">
              <a:avLst>
                <a:gd name="adj" fmla="val 7509"/>
              </a:avLst>
            </a:prstGeom>
            <a:gradFill flip="none" rotWithShape="1">
              <a:gsLst>
                <a:gs pos="0">
                  <a:srgbClr val="051C39"/>
                </a:gs>
                <a:gs pos="100000">
                  <a:srgbClr val="2552E3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60825D14-0391-E51F-FD88-2E4CCE570F25}"/>
                </a:ext>
              </a:extLst>
            </p:cNvPr>
            <p:cNvSpPr/>
            <p:nvPr/>
          </p:nvSpPr>
          <p:spPr>
            <a:xfrm>
              <a:off x="8086733" y="2034602"/>
              <a:ext cx="1008000" cy="3205414"/>
            </a:xfrm>
            <a:prstGeom prst="roundRect">
              <a:avLst>
                <a:gd name="adj" fmla="val 7509"/>
              </a:avLst>
            </a:prstGeom>
            <a:solidFill>
              <a:schemeClr val="bg1"/>
            </a:soli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54670AE3-07B2-5790-48FC-A3D401248F6F}"/>
                </a:ext>
              </a:extLst>
            </p:cNvPr>
            <p:cNvGrpSpPr/>
            <p:nvPr/>
          </p:nvGrpSpPr>
          <p:grpSpPr>
            <a:xfrm>
              <a:off x="8148889" y="2248681"/>
              <a:ext cx="924328" cy="830797"/>
              <a:chOff x="505604" y="2121114"/>
              <a:chExt cx="924328" cy="830797"/>
            </a:xfrm>
          </p:grpSpPr>
          <p:pic>
            <p:nvPicPr>
              <p:cNvPr id="192" name="Picture 191">
                <a:extLst>
                  <a:ext uri="{FF2B5EF4-FFF2-40B4-BE49-F238E27FC236}">
                    <a16:creationId xmlns:a16="http://schemas.microsoft.com/office/drawing/2014/main" id="{523F11CE-ACF8-8166-84AB-C60EE7EC6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1142" y="2121114"/>
                <a:ext cx="444170" cy="444170"/>
              </a:xfrm>
              <a:prstGeom prst="rect">
                <a:avLst/>
              </a:prstGeom>
            </p:spPr>
          </p:pic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853E9799-DCD1-12F6-7B26-DC380F764062}"/>
                  </a:ext>
                </a:extLst>
              </p:cNvPr>
              <p:cNvSpPr txBox="1"/>
              <p:nvPr/>
            </p:nvSpPr>
            <p:spPr>
              <a:xfrm>
                <a:off x="505604" y="2521024"/>
                <a:ext cx="92432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im_customer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E72F08E0-380C-7EB8-7E5E-76D6341ADA1B}"/>
                </a:ext>
              </a:extLst>
            </p:cNvPr>
            <p:cNvGrpSpPr/>
            <p:nvPr/>
          </p:nvGrpSpPr>
          <p:grpSpPr>
            <a:xfrm>
              <a:off x="8086733" y="3323496"/>
              <a:ext cx="986484" cy="644328"/>
              <a:chOff x="443448" y="3020058"/>
              <a:chExt cx="986484" cy="644328"/>
            </a:xfrm>
          </p:grpSpPr>
          <p:pic>
            <p:nvPicPr>
              <p:cNvPr id="190" name="Picture 189">
                <a:extLst>
                  <a:ext uri="{FF2B5EF4-FFF2-40B4-BE49-F238E27FC236}">
                    <a16:creationId xmlns:a16="http://schemas.microsoft.com/office/drawing/2014/main" id="{AF9B596D-FE63-351A-8523-FCF69E834E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683" y="3020058"/>
                <a:ext cx="444170" cy="444170"/>
              </a:xfrm>
              <a:prstGeom prst="rect">
                <a:avLst/>
              </a:prstGeom>
            </p:spPr>
          </p:pic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CAC6F4A8-76DF-665B-1CB5-5F17B3FA8CD6}"/>
                  </a:ext>
                </a:extLst>
              </p:cNvPr>
              <p:cNvSpPr txBox="1"/>
              <p:nvPr/>
            </p:nvSpPr>
            <p:spPr>
              <a:xfrm>
                <a:off x="443448" y="3402776"/>
                <a:ext cx="98648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im_driver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4F00C6E5-FB6E-49E3-9D8D-46851AC35C3D}"/>
                </a:ext>
              </a:extLst>
            </p:cNvPr>
            <p:cNvGrpSpPr/>
            <p:nvPr/>
          </p:nvGrpSpPr>
          <p:grpSpPr>
            <a:xfrm>
              <a:off x="8148889" y="4315282"/>
              <a:ext cx="924328" cy="658951"/>
              <a:chOff x="505604" y="4148711"/>
              <a:chExt cx="924328" cy="658951"/>
            </a:xfrm>
          </p:grpSpPr>
          <p:pic>
            <p:nvPicPr>
              <p:cNvPr id="188" name="Picture 187">
                <a:extLst>
                  <a:ext uri="{FF2B5EF4-FFF2-40B4-BE49-F238E27FC236}">
                    <a16:creationId xmlns:a16="http://schemas.microsoft.com/office/drawing/2014/main" id="{72EB8999-A41A-A0B5-C386-EBF40F2584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683" y="4148711"/>
                <a:ext cx="444170" cy="444170"/>
              </a:xfrm>
              <a:prstGeom prst="rect">
                <a:avLst/>
              </a:prstGeom>
            </p:spPr>
          </p:pic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881CFA9E-4F3C-1348-57ED-B9D4D6D2C170}"/>
                  </a:ext>
                </a:extLst>
              </p:cNvPr>
              <p:cNvSpPr txBox="1"/>
              <p:nvPr/>
            </p:nvSpPr>
            <p:spPr>
              <a:xfrm>
                <a:off x="505604" y="4546052"/>
                <a:ext cx="92432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Fact_rides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05774F8-0830-E18D-A4CD-DDAF7671EFD8}"/>
                </a:ext>
              </a:extLst>
            </p:cNvPr>
            <p:cNvSpPr txBox="1"/>
            <p:nvPr/>
          </p:nvSpPr>
          <p:spPr>
            <a:xfrm>
              <a:off x="7304921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Facts and Dim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facts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C68DDCAB-1186-EC94-8158-E0EB20DE94BC}"/>
              </a:ext>
            </a:extLst>
          </p:cNvPr>
          <p:cNvGrpSpPr/>
          <p:nvPr/>
        </p:nvGrpSpPr>
        <p:grpSpPr>
          <a:xfrm>
            <a:off x="4363731" y="1511358"/>
            <a:ext cx="2571623" cy="3795145"/>
            <a:chOff x="4513620" y="1479002"/>
            <a:chExt cx="2571623" cy="3795145"/>
          </a:xfrm>
        </p:grpSpPr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796694F5-B72B-2D7D-7BEE-B22DCB9E14F1}"/>
                </a:ext>
              </a:extLst>
            </p:cNvPr>
            <p:cNvGrpSpPr/>
            <p:nvPr/>
          </p:nvGrpSpPr>
          <p:grpSpPr>
            <a:xfrm>
              <a:off x="5257527" y="2002222"/>
              <a:ext cx="1083811" cy="3271925"/>
              <a:chOff x="405543" y="1693775"/>
              <a:chExt cx="1083811" cy="3271925"/>
            </a:xfrm>
          </p:grpSpPr>
          <p:sp>
            <p:nvSpPr>
              <p:cNvPr id="166" name="Rectangle: Rounded Corners 165">
                <a:extLst>
                  <a:ext uri="{FF2B5EF4-FFF2-40B4-BE49-F238E27FC236}">
                    <a16:creationId xmlns:a16="http://schemas.microsoft.com/office/drawing/2014/main" id="{9E37DD49-012A-9F12-6764-7B9B82F72C2D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167" name="Rectangle: Rounded Corners 166">
                <a:extLst>
                  <a:ext uri="{FF2B5EF4-FFF2-40B4-BE49-F238E27FC236}">
                    <a16:creationId xmlns:a16="http://schemas.microsoft.com/office/drawing/2014/main" id="{0DC2D12F-E175-1947-8AB7-99EB310E47AC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90830E79-4FC3-1851-9148-CEED977AC407}"/>
                  </a:ext>
                </a:extLst>
              </p:cNvPr>
              <p:cNvGrpSpPr/>
              <p:nvPr/>
            </p:nvGrpSpPr>
            <p:grpSpPr>
              <a:xfrm>
                <a:off x="415859" y="1842901"/>
                <a:ext cx="1062295" cy="640614"/>
                <a:chOff x="418399" y="1842901"/>
                <a:chExt cx="1062295" cy="640614"/>
              </a:xfrm>
            </p:grpSpPr>
            <p:pic>
              <p:nvPicPr>
                <p:cNvPr id="178" name="Picture 177">
                  <a:extLst>
                    <a:ext uri="{FF2B5EF4-FFF2-40B4-BE49-F238E27FC236}">
                      <a16:creationId xmlns:a16="http://schemas.microsoft.com/office/drawing/2014/main" id="{6179327E-40A3-9139-5F5B-AF44564E5F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184290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9" name="TextBox 178">
                  <a:extLst>
                    <a:ext uri="{FF2B5EF4-FFF2-40B4-BE49-F238E27FC236}">
                      <a16:creationId xmlns:a16="http://schemas.microsoft.com/office/drawing/2014/main" id="{8DB70215-B8B5-E341-F36A-AAFD348676B6}"/>
                    </a:ext>
                  </a:extLst>
                </p:cNvPr>
                <p:cNvSpPr txBox="1"/>
                <p:nvPr/>
              </p:nvSpPr>
              <p:spPr>
                <a:xfrm>
                  <a:off x="418399" y="2221905"/>
                  <a:ext cx="106229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Customer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6179FBC1-54CF-FD68-0D49-75F9EBB21DD8}"/>
                  </a:ext>
                </a:extLst>
              </p:cNvPr>
              <p:cNvGrpSpPr/>
              <p:nvPr/>
            </p:nvGrpSpPr>
            <p:grpSpPr>
              <a:xfrm>
                <a:off x="505604" y="2612100"/>
                <a:ext cx="924328" cy="635112"/>
                <a:chOff x="505604" y="2558913"/>
                <a:chExt cx="924328" cy="635112"/>
              </a:xfrm>
            </p:grpSpPr>
            <p:pic>
              <p:nvPicPr>
                <p:cNvPr id="176" name="Picture 175">
                  <a:extLst>
                    <a:ext uri="{FF2B5EF4-FFF2-40B4-BE49-F238E27FC236}">
                      <a16:creationId xmlns:a16="http://schemas.microsoft.com/office/drawing/2014/main" id="{CDC7A446-F482-A694-7125-ADD1C3EEE7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558913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7" name="TextBox 176">
                  <a:extLst>
                    <a:ext uri="{FF2B5EF4-FFF2-40B4-BE49-F238E27FC236}">
                      <a16:creationId xmlns:a16="http://schemas.microsoft.com/office/drawing/2014/main" id="{A3EB056E-F0F3-25E7-030A-8E76ACFC3A59}"/>
                    </a:ext>
                  </a:extLst>
                </p:cNvPr>
                <p:cNvSpPr txBox="1"/>
                <p:nvPr/>
              </p:nvSpPr>
              <p:spPr>
                <a:xfrm>
                  <a:off x="505604" y="2932415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driver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8EFD4993-884E-9743-830B-1E7008EE44AC}"/>
                  </a:ext>
                </a:extLst>
              </p:cNvPr>
              <p:cNvGrpSpPr/>
              <p:nvPr/>
            </p:nvGrpSpPr>
            <p:grpSpPr>
              <a:xfrm>
                <a:off x="443448" y="3375797"/>
                <a:ext cx="986484" cy="644328"/>
                <a:chOff x="443448" y="3244956"/>
                <a:chExt cx="986484" cy="644328"/>
              </a:xfrm>
            </p:grpSpPr>
            <p:pic>
              <p:nvPicPr>
                <p:cNvPr id="174" name="Picture 173">
                  <a:extLst>
                    <a:ext uri="{FF2B5EF4-FFF2-40B4-BE49-F238E27FC236}">
                      <a16:creationId xmlns:a16="http://schemas.microsoft.com/office/drawing/2014/main" id="{F3D60A36-7763-3434-28AA-BFE673DACF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3244956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5" name="TextBox 174">
                  <a:extLst>
                    <a:ext uri="{FF2B5EF4-FFF2-40B4-BE49-F238E27FC236}">
                      <a16:creationId xmlns:a16="http://schemas.microsoft.com/office/drawing/2014/main" id="{B2DAB6FB-6346-58F4-8C2C-9EE5A56ED86F}"/>
                    </a:ext>
                  </a:extLst>
                </p:cNvPr>
                <p:cNvSpPr txBox="1"/>
                <p:nvPr/>
              </p:nvSpPr>
              <p:spPr>
                <a:xfrm>
                  <a:off x="443448" y="3627674"/>
                  <a:ext cx="98648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Vehicle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ADB4ECFA-2267-FCD4-B47F-F5F87E293BEB}"/>
                  </a:ext>
                </a:extLst>
              </p:cNvPr>
              <p:cNvGrpSpPr/>
              <p:nvPr/>
            </p:nvGrpSpPr>
            <p:grpSpPr>
              <a:xfrm>
                <a:off x="505604" y="4148711"/>
                <a:ext cx="924328" cy="658951"/>
                <a:chOff x="505604" y="4148711"/>
                <a:chExt cx="924328" cy="658951"/>
              </a:xfrm>
            </p:grpSpPr>
            <p:pic>
              <p:nvPicPr>
                <p:cNvPr id="172" name="Picture 171">
                  <a:extLst>
                    <a:ext uri="{FF2B5EF4-FFF2-40B4-BE49-F238E27FC236}">
                      <a16:creationId xmlns:a16="http://schemas.microsoft.com/office/drawing/2014/main" id="{035FE457-D4E2-5AF3-6005-0ADE69CDD3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414871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3" name="TextBox 172">
                  <a:extLst>
                    <a:ext uri="{FF2B5EF4-FFF2-40B4-BE49-F238E27FC236}">
                      <a16:creationId xmlns:a16="http://schemas.microsoft.com/office/drawing/2014/main" id="{1A756BF2-9541-7B0C-FE87-D40C7DA7F5AB}"/>
                    </a:ext>
                  </a:extLst>
                </p:cNvPr>
                <p:cNvSpPr txBox="1"/>
                <p:nvPr/>
              </p:nvSpPr>
              <p:spPr>
                <a:xfrm>
                  <a:off x="505604" y="4546052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Ride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CD79A36F-8F95-E081-74AB-9071D60C85C2}"/>
                </a:ext>
              </a:extLst>
            </p:cNvPr>
            <p:cNvSpPr txBox="1"/>
            <p:nvPr/>
          </p:nvSpPr>
          <p:spPr>
            <a:xfrm>
              <a:off x="4513620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Preparation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staging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0709075-A9D6-DD9F-5146-A906EE7171EF}"/>
              </a:ext>
            </a:extLst>
          </p:cNvPr>
          <p:cNvGrpSpPr/>
          <p:nvPr/>
        </p:nvGrpSpPr>
        <p:grpSpPr>
          <a:xfrm>
            <a:off x="9412554" y="1511358"/>
            <a:ext cx="2571623" cy="3795145"/>
            <a:chOff x="9574482" y="1479002"/>
            <a:chExt cx="2571623" cy="3795145"/>
          </a:xfrm>
        </p:grpSpPr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4CA2D114-31AE-2D9F-AC77-D82A27BBD4EB}"/>
                </a:ext>
              </a:extLst>
            </p:cNvPr>
            <p:cNvGrpSpPr/>
            <p:nvPr/>
          </p:nvGrpSpPr>
          <p:grpSpPr>
            <a:xfrm>
              <a:off x="10318389" y="2002222"/>
              <a:ext cx="1083811" cy="3271925"/>
              <a:chOff x="405543" y="1693775"/>
              <a:chExt cx="1083811" cy="3271925"/>
            </a:xfrm>
          </p:grpSpPr>
          <p:sp>
            <p:nvSpPr>
              <p:cNvPr id="198" name="Rectangle: Rounded Corners 197">
                <a:extLst>
                  <a:ext uri="{FF2B5EF4-FFF2-40B4-BE49-F238E27FC236}">
                    <a16:creationId xmlns:a16="http://schemas.microsoft.com/office/drawing/2014/main" id="{CD396F2E-6FEF-34EF-A0B3-F7B9D368754A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199" name="Rectangle: Rounded Corners 198">
                <a:extLst>
                  <a:ext uri="{FF2B5EF4-FFF2-40B4-BE49-F238E27FC236}">
                    <a16:creationId xmlns:a16="http://schemas.microsoft.com/office/drawing/2014/main" id="{CD16B40E-EDB2-3C5D-E2B6-806615A40D81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id="{ABC3FF0C-723A-A74B-2A2F-8AF9F86092F3}"/>
                  </a:ext>
                </a:extLst>
              </p:cNvPr>
              <p:cNvGrpSpPr/>
              <p:nvPr/>
            </p:nvGrpSpPr>
            <p:grpSpPr>
              <a:xfrm>
                <a:off x="415859" y="2410418"/>
                <a:ext cx="1062295" cy="809891"/>
                <a:chOff x="418399" y="2410418"/>
                <a:chExt cx="1062295" cy="809891"/>
              </a:xfrm>
            </p:grpSpPr>
            <p:pic>
              <p:nvPicPr>
                <p:cNvPr id="210" name="Picture 209">
                  <a:extLst>
                    <a:ext uri="{FF2B5EF4-FFF2-40B4-BE49-F238E27FC236}">
                      <a16:creationId xmlns:a16="http://schemas.microsoft.com/office/drawing/2014/main" id="{0A0C38E4-04EF-6949-B1F7-6309324B48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410418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211" name="TextBox 210">
                  <a:extLst>
                    <a:ext uri="{FF2B5EF4-FFF2-40B4-BE49-F238E27FC236}">
                      <a16:creationId xmlns:a16="http://schemas.microsoft.com/office/drawing/2014/main" id="{AE01F4E3-E2AC-9316-9D75-1050FE24FCF5}"/>
                    </a:ext>
                  </a:extLst>
                </p:cNvPr>
                <p:cNvSpPr txBox="1"/>
                <p:nvPr/>
              </p:nvSpPr>
              <p:spPr>
                <a:xfrm>
                  <a:off x="418399" y="2789422"/>
                  <a:ext cx="1062295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Mart_cust_rides_daily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id="{C783A4BA-C86F-7CEC-091C-4BA9DD0BAC1C}"/>
                  </a:ext>
                </a:extLst>
              </p:cNvPr>
              <p:cNvGrpSpPr/>
              <p:nvPr/>
            </p:nvGrpSpPr>
            <p:grpSpPr>
              <a:xfrm>
                <a:off x="505604" y="3509901"/>
                <a:ext cx="924328" cy="973666"/>
                <a:chOff x="505604" y="3456714"/>
                <a:chExt cx="924328" cy="973666"/>
              </a:xfrm>
            </p:grpSpPr>
            <p:pic>
              <p:nvPicPr>
                <p:cNvPr id="208" name="Picture 207">
                  <a:extLst>
                    <a:ext uri="{FF2B5EF4-FFF2-40B4-BE49-F238E27FC236}">
                      <a16:creationId xmlns:a16="http://schemas.microsoft.com/office/drawing/2014/main" id="{5129DA9B-16B3-CC2C-CE8C-5FA66982E6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3456714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209" name="TextBox 208">
                  <a:extLst>
                    <a:ext uri="{FF2B5EF4-FFF2-40B4-BE49-F238E27FC236}">
                      <a16:creationId xmlns:a16="http://schemas.microsoft.com/office/drawing/2014/main" id="{559C7614-3E68-AAB7-E9A6-BFA34FF3B075}"/>
                    </a:ext>
                  </a:extLst>
                </p:cNvPr>
                <p:cNvSpPr txBox="1"/>
                <p:nvPr/>
              </p:nvSpPr>
              <p:spPr>
                <a:xfrm>
                  <a:off x="505604" y="3830216"/>
                  <a:ext cx="924328" cy="6001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Mart_driver_loyalty_mgmt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C963449D-49F8-061C-7C09-186B63859812}"/>
                </a:ext>
              </a:extLst>
            </p:cNvPr>
            <p:cNvSpPr txBox="1"/>
            <p:nvPr/>
          </p:nvSpPr>
          <p:spPr>
            <a:xfrm>
              <a:off x="9574482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Marts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marts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B4DDF229-FBDA-ECCF-6AC3-3F5AFD48A2FE}"/>
              </a:ext>
            </a:extLst>
          </p:cNvPr>
          <p:cNvCxnSpPr>
            <a:cxnSpLocks/>
            <a:stCxn id="19" idx="3"/>
            <a:endCxn id="150" idx="1"/>
          </p:cNvCxnSpPr>
          <p:nvPr/>
        </p:nvCxnSpPr>
        <p:spPr>
          <a:xfrm>
            <a:off x="1377775" y="3670541"/>
            <a:ext cx="1205452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2" name="Oval 221">
            <a:extLst>
              <a:ext uri="{FF2B5EF4-FFF2-40B4-BE49-F238E27FC236}">
                <a16:creationId xmlns:a16="http://schemas.microsoft.com/office/drawing/2014/main" id="{F44EDC6F-ACB0-428F-CA44-377B695A2D0B}"/>
              </a:ext>
            </a:extLst>
          </p:cNvPr>
          <p:cNvSpPr/>
          <p:nvPr/>
        </p:nvSpPr>
        <p:spPr>
          <a:xfrm>
            <a:off x="1679289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cxnSp>
        <p:nvCxnSpPr>
          <p:cNvPr id="223" name="Straight Arrow Connector 222">
            <a:extLst>
              <a:ext uri="{FF2B5EF4-FFF2-40B4-BE49-F238E27FC236}">
                <a16:creationId xmlns:a16="http://schemas.microsoft.com/office/drawing/2014/main" id="{A2D5C59F-C873-88E2-376B-4C5BC229FEC8}"/>
              </a:ext>
            </a:extLst>
          </p:cNvPr>
          <p:cNvCxnSpPr>
            <a:cxnSpLocks/>
            <a:stCxn id="150" idx="3"/>
            <a:endCxn id="166" idx="1"/>
          </p:cNvCxnSpPr>
          <p:nvPr/>
        </p:nvCxnSpPr>
        <p:spPr>
          <a:xfrm>
            <a:off x="3667038" y="3670541"/>
            <a:ext cx="1440600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6F435C16-7D39-5B46-10A4-9D1ACBD44128}"/>
              </a:ext>
            </a:extLst>
          </p:cNvPr>
          <p:cNvCxnSpPr>
            <a:cxnSpLocks/>
            <a:stCxn id="166" idx="3"/>
            <a:endCxn id="182" idx="1"/>
          </p:cNvCxnSpPr>
          <p:nvPr/>
        </p:nvCxnSpPr>
        <p:spPr>
          <a:xfrm>
            <a:off x="6191449" y="3670541"/>
            <a:ext cx="1440600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E37CE65F-EFBF-C7D1-006F-A3834D5436CE}"/>
              </a:ext>
            </a:extLst>
          </p:cNvPr>
          <p:cNvCxnSpPr>
            <a:cxnSpLocks/>
            <a:stCxn id="182" idx="3"/>
            <a:endCxn id="198" idx="1"/>
          </p:cNvCxnSpPr>
          <p:nvPr/>
        </p:nvCxnSpPr>
        <p:spPr>
          <a:xfrm>
            <a:off x="8715860" y="3670541"/>
            <a:ext cx="1440601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5" name="Oval 234">
            <a:extLst>
              <a:ext uri="{FF2B5EF4-FFF2-40B4-BE49-F238E27FC236}">
                <a16:creationId xmlns:a16="http://schemas.microsoft.com/office/drawing/2014/main" id="{2B18BF07-2FE6-D06E-C59B-EC2EEEA5B793}"/>
              </a:ext>
            </a:extLst>
          </p:cNvPr>
          <p:cNvSpPr/>
          <p:nvPr/>
        </p:nvSpPr>
        <p:spPr>
          <a:xfrm>
            <a:off x="4137515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6B809899-9A87-9856-6BD6-21409AB1EC03}"/>
              </a:ext>
            </a:extLst>
          </p:cNvPr>
          <p:cNvSpPr/>
          <p:nvPr/>
        </p:nvSpPr>
        <p:spPr>
          <a:xfrm>
            <a:off x="6680726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6D0766C5-D60F-D455-5B1E-20F4D58C527A}"/>
              </a:ext>
            </a:extLst>
          </p:cNvPr>
          <p:cNvSpPr/>
          <p:nvPr/>
        </p:nvSpPr>
        <p:spPr>
          <a:xfrm>
            <a:off x="9054601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cxnSp>
        <p:nvCxnSpPr>
          <p:cNvPr id="242" name="Straight Connector 68">
            <a:extLst>
              <a:ext uri="{FF2B5EF4-FFF2-40B4-BE49-F238E27FC236}">
                <a16:creationId xmlns:a16="http://schemas.microsoft.com/office/drawing/2014/main" id="{8FB384FA-982E-8847-52D1-DA88947520A4}"/>
              </a:ext>
            </a:extLst>
          </p:cNvPr>
          <p:cNvCxnSpPr>
            <a:cxnSpLocks/>
            <a:stCxn id="264" idx="1"/>
            <a:endCxn id="235" idx="4"/>
          </p:cNvCxnSpPr>
          <p:nvPr/>
        </p:nvCxnSpPr>
        <p:spPr>
          <a:xfrm rot="10800000">
            <a:off x="4294808" y="3826957"/>
            <a:ext cx="1168460" cy="1925300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FE81F0EE-6C0D-A0E2-97CA-C54D9F989ACB}"/>
              </a:ext>
            </a:extLst>
          </p:cNvPr>
          <p:cNvGrpSpPr/>
          <p:nvPr/>
        </p:nvGrpSpPr>
        <p:grpSpPr>
          <a:xfrm>
            <a:off x="5463268" y="5547517"/>
            <a:ext cx="2749500" cy="409480"/>
            <a:chOff x="5688696" y="5773001"/>
            <a:chExt cx="2749500" cy="488285"/>
          </a:xfrm>
        </p:grpSpPr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4665DDB0-B461-D1E2-C652-11540933BB10}"/>
                </a:ext>
              </a:extLst>
            </p:cNvPr>
            <p:cNvGrpSpPr/>
            <p:nvPr/>
          </p:nvGrpSpPr>
          <p:grpSpPr>
            <a:xfrm>
              <a:off x="5688696" y="5773001"/>
              <a:ext cx="2749500" cy="488285"/>
              <a:chOff x="5755648" y="5777260"/>
              <a:chExt cx="2749500" cy="488285"/>
            </a:xfrm>
          </p:grpSpPr>
          <p:sp>
            <p:nvSpPr>
              <p:cNvPr id="264" name="Rectangle: Rounded Corners 263">
                <a:extLst>
                  <a:ext uri="{FF2B5EF4-FFF2-40B4-BE49-F238E27FC236}">
                    <a16:creationId xmlns:a16="http://schemas.microsoft.com/office/drawing/2014/main" id="{3CD4C35C-552C-67FA-1979-A2F513B0EF0D}"/>
                  </a:ext>
                </a:extLst>
              </p:cNvPr>
              <p:cNvSpPr/>
              <p:nvPr/>
            </p:nvSpPr>
            <p:spPr>
              <a:xfrm>
                <a:off x="5755648" y="5777260"/>
                <a:ext cx="2749500" cy="488285"/>
              </a:xfrm>
              <a:prstGeom prst="roundRect">
                <a:avLst>
                  <a:gd name="adj" fmla="val 854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248" name="Picture 247">
                <a:extLst>
                  <a:ext uri="{FF2B5EF4-FFF2-40B4-BE49-F238E27FC236}">
                    <a16:creationId xmlns:a16="http://schemas.microsoft.com/office/drawing/2014/main" id="{13B3DA5B-4D21-C517-8E18-17B4B18051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22002" y="5854145"/>
                <a:ext cx="861010" cy="320210"/>
              </a:xfrm>
              <a:prstGeom prst="rect">
                <a:avLst/>
              </a:prstGeom>
            </p:spPr>
          </p:pic>
        </p:grpSp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9FB63D11-22BD-AFD3-3FAF-93D7A4B6BCEE}"/>
                </a:ext>
              </a:extLst>
            </p:cNvPr>
            <p:cNvSpPr txBox="1"/>
            <p:nvPr/>
          </p:nvSpPr>
          <p:spPr>
            <a:xfrm>
              <a:off x="5730358" y="5871498"/>
              <a:ext cx="18568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Transformation using: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AFE1ACAE-386F-F884-E0B3-B2445CD86C23}"/>
              </a:ext>
            </a:extLst>
          </p:cNvPr>
          <p:cNvSpPr/>
          <p:nvPr/>
        </p:nvSpPr>
        <p:spPr>
          <a:xfrm rot="16200000">
            <a:off x="6713322" y="-3698497"/>
            <a:ext cx="337762" cy="974641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53" name="Picture 252">
            <a:extLst>
              <a:ext uri="{FF2B5EF4-FFF2-40B4-BE49-F238E27FC236}">
                <a16:creationId xmlns:a16="http://schemas.microsoft.com/office/drawing/2014/main" id="{D73D5281-F0DD-6C4E-BFCA-89EDFEDB6D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2369" y="1020957"/>
            <a:ext cx="321683" cy="321683"/>
          </a:xfrm>
          <a:prstGeom prst="rect">
            <a:avLst/>
          </a:prstGeom>
        </p:spPr>
      </p:pic>
      <p:sp>
        <p:nvSpPr>
          <p:cNvPr id="259" name="TextBox 258">
            <a:extLst>
              <a:ext uri="{FF2B5EF4-FFF2-40B4-BE49-F238E27FC236}">
                <a16:creationId xmlns:a16="http://schemas.microsoft.com/office/drawing/2014/main" id="{4E3DB16C-8B24-1CC9-CE51-E4B1360E3873}"/>
              </a:ext>
            </a:extLst>
          </p:cNvPr>
          <p:cNvSpPr txBox="1"/>
          <p:nvPr/>
        </p:nvSpPr>
        <p:spPr>
          <a:xfrm>
            <a:off x="4622752" y="1020820"/>
            <a:ext cx="48871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Warehouse: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’s </a:t>
            </a:r>
            <a:r>
              <a: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1" name="Rectangle: Rounded Corners 260">
            <a:extLst>
              <a:ext uri="{FF2B5EF4-FFF2-40B4-BE49-F238E27FC236}">
                <a16:creationId xmlns:a16="http://schemas.microsoft.com/office/drawing/2014/main" id="{D33734EB-DD1B-F97B-07E5-117674533776}"/>
              </a:ext>
            </a:extLst>
          </p:cNvPr>
          <p:cNvSpPr/>
          <p:nvPr/>
        </p:nvSpPr>
        <p:spPr>
          <a:xfrm rot="16200000">
            <a:off x="668248" y="633114"/>
            <a:ext cx="337763" cy="1081292"/>
          </a:xfrm>
          <a:prstGeom prst="roundRect">
            <a:avLst>
              <a:gd name="adj" fmla="val 7509"/>
            </a:avLst>
          </a:prstGeom>
          <a:gradFill flip="none" rotWithShape="0">
            <a:gsLst>
              <a:gs pos="2900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9249DA84-E4BF-B40A-13A9-FF0AB9B6F310}"/>
              </a:ext>
            </a:extLst>
          </p:cNvPr>
          <p:cNvSpPr txBox="1"/>
          <p:nvPr/>
        </p:nvSpPr>
        <p:spPr>
          <a:xfrm>
            <a:off x="603650" y="1012211"/>
            <a:ext cx="800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</a:t>
            </a:r>
            <a:endParaRPr lang="en-ID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3" name="Picture 262">
            <a:extLst>
              <a:ext uri="{FF2B5EF4-FFF2-40B4-BE49-F238E27FC236}">
                <a16:creationId xmlns:a16="http://schemas.microsoft.com/office/drawing/2014/main" id="{8D0B89D7-FA07-8AFB-7EC8-DEF1B43067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87" y="1020820"/>
            <a:ext cx="298459" cy="307777"/>
          </a:xfrm>
          <a:prstGeom prst="rect">
            <a:avLst/>
          </a:prstGeom>
        </p:spPr>
      </p:pic>
      <p:cxnSp>
        <p:nvCxnSpPr>
          <p:cNvPr id="266" name="Straight Connector 68">
            <a:extLst>
              <a:ext uri="{FF2B5EF4-FFF2-40B4-BE49-F238E27FC236}">
                <a16:creationId xmlns:a16="http://schemas.microsoft.com/office/drawing/2014/main" id="{FDB021AD-D33E-4DF6-5E07-D5532843F7C5}"/>
              </a:ext>
            </a:extLst>
          </p:cNvPr>
          <p:cNvCxnSpPr>
            <a:cxnSpLocks/>
            <a:stCxn id="264" idx="0"/>
            <a:endCxn id="236" idx="4"/>
          </p:cNvCxnSpPr>
          <p:nvPr/>
        </p:nvCxnSpPr>
        <p:spPr>
          <a:xfrm flipV="1">
            <a:off x="6838018" y="3826957"/>
            <a:ext cx="1" cy="172056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68">
            <a:extLst>
              <a:ext uri="{FF2B5EF4-FFF2-40B4-BE49-F238E27FC236}">
                <a16:creationId xmlns:a16="http://schemas.microsoft.com/office/drawing/2014/main" id="{B20F0C4C-1099-02D2-1FC6-20C7686B6A5B}"/>
              </a:ext>
            </a:extLst>
          </p:cNvPr>
          <p:cNvCxnSpPr>
            <a:cxnSpLocks/>
            <a:stCxn id="264" idx="3"/>
            <a:endCxn id="237" idx="4"/>
          </p:cNvCxnSpPr>
          <p:nvPr/>
        </p:nvCxnSpPr>
        <p:spPr>
          <a:xfrm flipV="1">
            <a:off x="8212768" y="3826957"/>
            <a:ext cx="999126" cy="1925300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68">
            <a:extLst>
              <a:ext uri="{FF2B5EF4-FFF2-40B4-BE49-F238E27FC236}">
                <a16:creationId xmlns:a16="http://schemas.microsoft.com/office/drawing/2014/main" id="{F3C09AA3-8565-3E7A-720E-55D3000D5985}"/>
              </a:ext>
            </a:extLst>
          </p:cNvPr>
          <p:cNvCxnSpPr>
            <a:cxnSpLocks/>
            <a:endCxn id="222" idx="4"/>
          </p:cNvCxnSpPr>
          <p:nvPr/>
        </p:nvCxnSpPr>
        <p:spPr>
          <a:xfrm flipV="1">
            <a:off x="1836582" y="3826957"/>
            <a:ext cx="0" cy="174230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68">
            <a:extLst>
              <a:ext uri="{FF2B5EF4-FFF2-40B4-BE49-F238E27FC236}">
                <a16:creationId xmlns:a16="http://schemas.microsoft.com/office/drawing/2014/main" id="{635171EC-9EEA-FF07-6D93-B555AB1224DC}"/>
              </a:ext>
            </a:extLst>
          </p:cNvPr>
          <p:cNvCxnSpPr>
            <a:cxnSpLocks/>
            <a:stCxn id="370" idx="1"/>
            <a:endCxn id="341" idx="2"/>
          </p:cNvCxnSpPr>
          <p:nvPr/>
        </p:nvCxnSpPr>
        <p:spPr>
          <a:xfrm rot="10800000">
            <a:off x="1849533" y="5937304"/>
            <a:ext cx="1192540" cy="328004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44" name="Group 343">
            <a:extLst>
              <a:ext uri="{FF2B5EF4-FFF2-40B4-BE49-F238E27FC236}">
                <a16:creationId xmlns:a16="http://schemas.microsoft.com/office/drawing/2014/main" id="{F2AE99C9-37D7-5A68-6B46-E6C8C00E8381}"/>
              </a:ext>
            </a:extLst>
          </p:cNvPr>
          <p:cNvGrpSpPr/>
          <p:nvPr/>
        </p:nvGrpSpPr>
        <p:grpSpPr>
          <a:xfrm>
            <a:off x="648718" y="5527823"/>
            <a:ext cx="2181563" cy="409481"/>
            <a:chOff x="1146722" y="5773001"/>
            <a:chExt cx="2181563" cy="488285"/>
          </a:xfrm>
        </p:grpSpPr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BD0DD624-8207-D114-AE75-AD3476B3E01C}"/>
                </a:ext>
              </a:extLst>
            </p:cNvPr>
            <p:cNvGrpSpPr/>
            <p:nvPr/>
          </p:nvGrpSpPr>
          <p:grpSpPr>
            <a:xfrm>
              <a:off x="1146722" y="5773001"/>
              <a:ext cx="2181563" cy="488285"/>
              <a:chOff x="5730358" y="5773001"/>
              <a:chExt cx="2181563" cy="488285"/>
            </a:xfrm>
          </p:grpSpPr>
          <p:sp>
            <p:nvSpPr>
              <p:cNvPr id="341" name="Rectangle: Rounded Corners 340">
                <a:extLst>
                  <a:ext uri="{FF2B5EF4-FFF2-40B4-BE49-F238E27FC236}">
                    <a16:creationId xmlns:a16="http://schemas.microsoft.com/office/drawing/2014/main" id="{02EB07B6-852D-3A7C-E233-59FB1BB52C7C}"/>
                  </a:ext>
                </a:extLst>
              </p:cNvPr>
              <p:cNvSpPr/>
              <p:nvPr/>
            </p:nvSpPr>
            <p:spPr>
              <a:xfrm>
                <a:off x="5950425" y="5773001"/>
                <a:ext cx="1961496" cy="488285"/>
              </a:xfrm>
              <a:prstGeom prst="roundRect">
                <a:avLst>
                  <a:gd name="adj" fmla="val 854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/>
              </a:p>
            </p:txBody>
          </p:sp>
          <p:sp>
            <p:nvSpPr>
              <p:cNvPr id="340" name="TextBox 339">
                <a:extLst>
                  <a:ext uri="{FF2B5EF4-FFF2-40B4-BE49-F238E27FC236}">
                    <a16:creationId xmlns:a16="http://schemas.microsoft.com/office/drawing/2014/main" id="{E55C982B-9365-ECE2-D01C-313DB0BED1D2}"/>
                  </a:ext>
                </a:extLst>
              </p:cNvPr>
              <p:cNvSpPr txBox="1"/>
              <p:nvPr/>
            </p:nvSpPr>
            <p:spPr>
              <a:xfrm>
                <a:off x="5730358" y="5871498"/>
                <a:ext cx="1856833" cy="3119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ELT Ingestion using: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343" name="Picture 342">
              <a:extLst>
                <a:ext uri="{FF2B5EF4-FFF2-40B4-BE49-F238E27FC236}">
                  <a16:creationId xmlns:a16="http://schemas.microsoft.com/office/drawing/2014/main" id="{5051B477-A5EB-9D44-33EB-8DDD1701C9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1862" y="5861022"/>
              <a:ext cx="332466" cy="364716"/>
            </a:xfrm>
            <a:prstGeom prst="rect">
              <a:avLst/>
            </a:prstGeom>
          </p:spPr>
        </p:pic>
      </p:grpSp>
      <p:cxnSp>
        <p:nvCxnSpPr>
          <p:cNvPr id="352" name="Straight Connector 68">
            <a:extLst>
              <a:ext uri="{FF2B5EF4-FFF2-40B4-BE49-F238E27FC236}">
                <a16:creationId xmlns:a16="http://schemas.microsoft.com/office/drawing/2014/main" id="{392680B5-5267-9201-F2EC-B2810A0F9F14}"/>
              </a:ext>
            </a:extLst>
          </p:cNvPr>
          <p:cNvCxnSpPr>
            <a:cxnSpLocks/>
            <a:stCxn id="370" idx="3"/>
            <a:endCxn id="264" idx="2"/>
          </p:cNvCxnSpPr>
          <p:nvPr/>
        </p:nvCxnSpPr>
        <p:spPr>
          <a:xfrm flipV="1">
            <a:off x="5307287" y="5956997"/>
            <a:ext cx="1530731" cy="308311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7C08FBED-71D2-8453-FC04-6E55C98E9714}"/>
              </a:ext>
            </a:extLst>
          </p:cNvPr>
          <p:cNvGrpSpPr/>
          <p:nvPr/>
        </p:nvGrpSpPr>
        <p:grpSpPr>
          <a:xfrm>
            <a:off x="3042073" y="6051755"/>
            <a:ext cx="2265214" cy="393525"/>
            <a:chOff x="2862931" y="6100534"/>
            <a:chExt cx="2265214" cy="439998"/>
          </a:xfrm>
        </p:grpSpPr>
        <p:sp>
          <p:nvSpPr>
            <p:cNvPr id="370" name="Rectangle: Rounded Corners 369">
              <a:extLst>
                <a:ext uri="{FF2B5EF4-FFF2-40B4-BE49-F238E27FC236}">
                  <a16:creationId xmlns:a16="http://schemas.microsoft.com/office/drawing/2014/main" id="{B1155ED5-1A83-9086-2976-A7EDECFCAB4C}"/>
                </a:ext>
              </a:extLst>
            </p:cNvPr>
            <p:cNvSpPr/>
            <p:nvPr/>
          </p:nvSpPr>
          <p:spPr>
            <a:xfrm>
              <a:off x="2862931" y="6138081"/>
              <a:ext cx="2265214" cy="402451"/>
            </a:xfrm>
            <a:prstGeom prst="roundRect">
              <a:avLst>
                <a:gd name="adj" fmla="val 8547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/>
            </a:p>
          </p:txBody>
        </p:sp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BF71FFE0-4964-BB61-6837-90E67F51CEFA}"/>
                </a:ext>
              </a:extLst>
            </p:cNvPr>
            <p:cNvSpPr txBox="1"/>
            <p:nvPr/>
          </p:nvSpPr>
          <p:spPr>
            <a:xfrm>
              <a:off x="2904241" y="6100534"/>
              <a:ext cx="135738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Orchestrated using: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73" name="Picture 372">
              <a:extLst>
                <a:ext uri="{FF2B5EF4-FFF2-40B4-BE49-F238E27FC236}">
                  <a16:creationId xmlns:a16="http://schemas.microsoft.com/office/drawing/2014/main" id="{57B3C538-B953-F714-F6E6-7FE6F84B5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928" y="6157832"/>
              <a:ext cx="740504" cy="286328"/>
            </a:xfrm>
            <a:prstGeom prst="rect">
              <a:avLst/>
            </a:prstGeom>
          </p:spPr>
        </p:pic>
      </p:grpSp>
      <p:sp>
        <p:nvSpPr>
          <p:cNvPr id="383" name="TextBox 382">
            <a:extLst>
              <a:ext uri="{FF2B5EF4-FFF2-40B4-BE49-F238E27FC236}">
                <a16:creationId xmlns:a16="http://schemas.microsoft.com/office/drawing/2014/main" id="{E852C4DF-B681-1A18-B49A-6AD4C69901B6}"/>
              </a:ext>
            </a:extLst>
          </p:cNvPr>
          <p:cNvSpPr txBox="1"/>
          <p:nvPr/>
        </p:nvSpPr>
        <p:spPr>
          <a:xfrm>
            <a:off x="9626605" y="5538285"/>
            <a:ext cx="267509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ocessing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ELT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imensional model</a:t>
            </a:r>
            <a:r>
              <a:rPr lang="en-US" sz="11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Star Schema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gestion Method: 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atching D-1</a:t>
            </a:r>
          </a:p>
        </p:txBody>
      </p:sp>
      <p:pic>
        <p:nvPicPr>
          <p:cNvPr id="386" name="Picture 385">
            <a:extLst>
              <a:ext uri="{FF2B5EF4-FFF2-40B4-BE49-F238E27FC236}">
                <a16:creationId xmlns:a16="http://schemas.microsoft.com/office/drawing/2014/main" id="{FE8496CD-26C1-6023-9092-C9944C28E0B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253" y="5589022"/>
            <a:ext cx="152430" cy="152430"/>
          </a:xfrm>
          <a:prstGeom prst="rect">
            <a:avLst/>
          </a:prstGeom>
        </p:spPr>
      </p:pic>
      <p:pic>
        <p:nvPicPr>
          <p:cNvPr id="387" name="Picture 386">
            <a:extLst>
              <a:ext uri="{FF2B5EF4-FFF2-40B4-BE49-F238E27FC236}">
                <a16:creationId xmlns:a16="http://schemas.microsoft.com/office/drawing/2014/main" id="{1486789F-2665-988C-C0DF-CFC40F7C71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253" y="5760965"/>
            <a:ext cx="152430" cy="152430"/>
          </a:xfrm>
          <a:prstGeom prst="rect">
            <a:avLst/>
          </a:prstGeom>
        </p:spPr>
      </p:pic>
      <p:pic>
        <p:nvPicPr>
          <p:cNvPr id="388" name="Picture 387">
            <a:extLst>
              <a:ext uri="{FF2B5EF4-FFF2-40B4-BE49-F238E27FC236}">
                <a16:creationId xmlns:a16="http://schemas.microsoft.com/office/drawing/2014/main" id="{81F76AD3-A0D0-12FA-E3F7-FD2FE64CC3D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253" y="5932908"/>
            <a:ext cx="152430" cy="152430"/>
          </a:xfrm>
          <a:prstGeom prst="rect">
            <a:avLst/>
          </a:prstGeom>
        </p:spPr>
      </p:pic>
      <p:grpSp>
        <p:nvGrpSpPr>
          <p:cNvPr id="415" name="Group 414">
            <a:extLst>
              <a:ext uri="{FF2B5EF4-FFF2-40B4-BE49-F238E27FC236}">
                <a16:creationId xmlns:a16="http://schemas.microsoft.com/office/drawing/2014/main" id="{76780B11-3C99-5DF0-AC44-D075358CC12F}"/>
              </a:ext>
            </a:extLst>
          </p:cNvPr>
          <p:cNvGrpSpPr/>
          <p:nvPr/>
        </p:nvGrpSpPr>
        <p:grpSpPr>
          <a:xfrm>
            <a:off x="322344" y="6175521"/>
            <a:ext cx="1386289" cy="547050"/>
            <a:chOff x="322344" y="6175521"/>
            <a:chExt cx="1386289" cy="547050"/>
          </a:xfrm>
        </p:grpSpPr>
        <p:cxnSp>
          <p:nvCxnSpPr>
            <p:cNvPr id="401" name="Straight Arrow Connector 400">
              <a:extLst>
                <a:ext uri="{FF2B5EF4-FFF2-40B4-BE49-F238E27FC236}">
                  <a16:creationId xmlns:a16="http://schemas.microsoft.com/office/drawing/2014/main" id="{4B5DA84D-01A0-5061-1DD3-11106251BB1F}"/>
                </a:ext>
              </a:extLst>
            </p:cNvPr>
            <p:cNvCxnSpPr>
              <a:cxnSpLocks/>
            </p:cNvCxnSpPr>
            <p:nvPr/>
          </p:nvCxnSpPr>
          <p:spPr>
            <a:xfrm>
              <a:off x="322344" y="6303408"/>
              <a:ext cx="546441" cy="0"/>
            </a:xfrm>
            <a:prstGeom prst="straightConnector1">
              <a:avLst/>
            </a:prstGeom>
            <a:ln>
              <a:solidFill>
                <a:srgbClr val="2552E3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6" name="Oval 395">
              <a:extLst>
                <a:ext uri="{FF2B5EF4-FFF2-40B4-BE49-F238E27FC236}">
                  <a16:creationId xmlns:a16="http://schemas.microsoft.com/office/drawing/2014/main" id="{F7AF2C66-BBCB-B3CB-31DF-4F8C2411CBA9}"/>
                </a:ext>
              </a:extLst>
            </p:cNvPr>
            <p:cNvSpPr/>
            <p:nvPr/>
          </p:nvSpPr>
          <p:spPr>
            <a:xfrm>
              <a:off x="478000" y="6201976"/>
              <a:ext cx="219389" cy="219389"/>
            </a:xfrm>
            <a:prstGeom prst="ellipse">
              <a:avLst/>
            </a:prstGeom>
            <a:gradFill>
              <a:gsLst>
                <a:gs pos="44000">
                  <a:srgbClr val="2552E2"/>
                </a:gs>
                <a:gs pos="100000">
                  <a:srgbClr val="061E3F"/>
                </a:gs>
              </a:gsLst>
              <a:path path="circle">
                <a:fillToRect r="100000" b="100000"/>
              </a:path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Georgia" panose="02040502050405020303" pitchFamily="18" charset="0"/>
                  <a:cs typeface="Arial" panose="020B0604020202020204" pitchFamily="34" charset="0"/>
                </a:rPr>
                <a:t>&gt;</a:t>
              </a:r>
              <a:endParaRPr lang="en-ID" sz="1400" dirty="0">
                <a:latin typeface="Georgia" panose="02040502050405020303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1C60631A-F59F-B7AA-5BE2-5A4EDC4696AE}"/>
                </a:ext>
              </a:extLst>
            </p:cNvPr>
            <p:cNvSpPr txBox="1"/>
            <p:nvPr/>
          </p:nvSpPr>
          <p:spPr>
            <a:xfrm>
              <a:off x="755528" y="617552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Data flow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08" name="Straight Connector 68">
              <a:extLst>
                <a:ext uri="{FF2B5EF4-FFF2-40B4-BE49-F238E27FC236}">
                  <a16:creationId xmlns:a16="http://schemas.microsoft.com/office/drawing/2014/main" id="{FEE74313-80FA-1642-5944-872979B91C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2344" y="6591766"/>
              <a:ext cx="513525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F20C22DF-52FF-2251-FC9F-181382967C30}"/>
                </a:ext>
              </a:extLst>
            </p:cNvPr>
            <p:cNvSpPr txBox="1"/>
            <p:nvPr/>
          </p:nvSpPr>
          <p:spPr>
            <a:xfrm>
              <a:off x="755528" y="646096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Tech Stack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16" name="Picture 415">
            <a:extLst>
              <a:ext uri="{FF2B5EF4-FFF2-40B4-BE49-F238E27FC236}">
                <a16:creationId xmlns:a16="http://schemas.microsoft.com/office/drawing/2014/main" id="{5E9603AF-3308-EF07-1741-701E08444E0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136" y="6214110"/>
            <a:ext cx="661017" cy="555255"/>
          </a:xfrm>
          <a:prstGeom prst="rect">
            <a:avLst/>
          </a:prstGeom>
        </p:spPr>
      </p:pic>
      <p:sp>
        <p:nvSpPr>
          <p:cNvPr id="417" name="TextBox 416">
            <a:extLst>
              <a:ext uri="{FF2B5EF4-FFF2-40B4-BE49-F238E27FC236}">
                <a16:creationId xmlns:a16="http://schemas.microsoft.com/office/drawing/2014/main" id="{80A87D9D-C3CB-175B-B816-91272806E8C1}"/>
              </a:ext>
            </a:extLst>
          </p:cNvPr>
          <p:cNvSpPr txBox="1"/>
          <p:nvPr/>
        </p:nvSpPr>
        <p:spPr>
          <a:xfrm>
            <a:off x="6920174" y="6260906"/>
            <a:ext cx="1499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Apps containerized in:</a:t>
            </a: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76D65116-F9CE-FBE1-F44B-45346DA9F70D}"/>
              </a:ext>
            </a:extLst>
          </p:cNvPr>
          <p:cNvSpPr/>
          <p:nvPr/>
        </p:nvSpPr>
        <p:spPr>
          <a:xfrm>
            <a:off x="8775373" y="2059810"/>
            <a:ext cx="476361" cy="476361"/>
          </a:xfrm>
          <a:prstGeom prst="star5">
            <a:avLst/>
          </a:prstGeom>
          <a:solidFill>
            <a:srgbClr val="FFFF00">
              <a:alpha val="40000"/>
            </a:srgbClr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6DD6AB8-70B1-8F6F-D06F-4F26D15C1853}"/>
              </a:ext>
            </a:extLst>
          </p:cNvPr>
          <p:cNvSpPr txBox="1"/>
          <p:nvPr/>
        </p:nvSpPr>
        <p:spPr>
          <a:xfrm>
            <a:off x="8726701" y="2503122"/>
            <a:ext cx="14820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tar schema 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model</a:t>
            </a:r>
            <a:endParaRPr kumimoji="0" lang="en-US" sz="1000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86839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661CD77-8B10-4435-A77A-19FA0D3501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D382016-9D88-E499-7FDA-DDDDC22AE2AB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AC164B5-DB6E-B921-E94B-F21641399E74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5CF20015-14D9-835D-9917-BE27AF291D2F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DF399C3B-4E69-09EC-189C-3F24CE7ACC21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30155AA-1DA6-4F6B-1383-1EBD15D2CC25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CB54423-23CD-FA58-671C-D3DF15EA2D26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2</a:t>
            </a:r>
            <a:r>
              <a:rPr kumimoji="0" lang="en-US" sz="2400" b="1" i="0" strike="noStrike" kern="1200" cap="none" spc="0" normalizeH="0" baseline="3000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nd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Automation logic flow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CB482F-899F-9001-8546-C7F08C57B9DC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3010AA8-8179-B6B1-1950-837EF4021628}"/>
              </a:ext>
            </a:extLst>
          </p:cNvPr>
          <p:cNvSpPr/>
          <p:nvPr/>
        </p:nvSpPr>
        <p:spPr>
          <a:xfrm rot="16200000">
            <a:off x="5857183" y="-4503912"/>
            <a:ext cx="337762" cy="1145013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946A2C-988F-526C-F753-98B03DDC89E8}"/>
              </a:ext>
            </a:extLst>
          </p:cNvPr>
          <p:cNvSpPr txBox="1"/>
          <p:nvPr/>
        </p:nvSpPr>
        <p:spPr>
          <a:xfrm>
            <a:off x="287907" y="1047566"/>
            <a:ext cx="11272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_NAM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1_load_to_postgre.py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OBJECTIV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 and load to PostgreSQL relational database</a:t>
            </a:r>
            <a:endParaRPr lang="en-ID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88B5031-5FC0-CFB7-DEEF-5A32B3313F5C}"/>
              </a:ext>
            </a:extLst>
          </p:cNvPr>
          <p:cNvSpPr/>
          <p:nvPr/>
        </p:nvSpPr>
        <p:spPr>
          <a:xfrm>
            <a:off x="467944" y="2003927"/>
            <a:ext cx="1129527" cy="491795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76F7107-3474-BE8E-A89C-5934EC19E359}"/>
              </a:ext>
            </a:extLst>
          </p:cNvPr>
          <p:cNvSpPr/>
          <p:nvPr/>
        </p:nvSpPr>
        <p:spPr>
          <a:xfrm>
            <a:off x="246231" y="1457363"/>
            <a:ext cx="3846606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1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table existence in PostgreSQL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E06E5D3-FD6C-537C-87FE-38473D7D8D55}"/>
              </a:ext>
            </a:extLst>
          </p:cNvPr>
          <p:cNvSpPr/>
          <p:nvPr/>
        </p:nvSpPr>
        <p:spPr>
          <a:xfrm>
            <a:off x="5989931" y="1457363"/>
            <a:ext cx="432845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2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 and load to PostgreSQL/DB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1E91B85-3112-6862-5AEB-5B0B2C6FF32F}"/>
              </a:ext>
            </a:extLst>
          </p:cNvPr>
          <p:cNvCxnSpPr>
            <a:cxnSpLocks/>
          </p:cNvCxnSpPr>
          <p:nvPr/>
        </p:nvCxnSpPr>
        <p:spPr>
          <a:xfrm>
            <a:off x="6164457" y="1801366"/>
            <a:ext cx="538664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5018BA9-D91B-C753-22CA-1C33DB39D610}"/>
              </a:ext>
            </a:extLst>
          </p:cNvPr>
          <p:cNvSpPr/>
          <p:nvPr/>
        </p:nvSpPr>
        <p:spPr>
          <a:xfrm>
            <a:off x="2131746" y="2003933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 table existence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Diamond 29">
            <a:extLst>
              <a:ext uri="{FF2B5EF4-FFF2-40B4-BE49-F238E27FC236}">
                <a16:creationId xmlns:a16="http://schemas.microsoft.com/office/drawing/2014/main" id="{0C77FD9A-83E8-2B44-4378-DABF2B0AFA55}"/>
              </a:ext>
            </a:extLst>
          </p:cNvPr>
          <p:cNvSpPr/>
          <p:nvPr/>
        </p:nvSpPr>
        <p:spPr>
          <a:xfrm>
            <a:off x="3852509" y="1913028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exist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0DEAEDBE-B7CC-DAA3-9B41-5D1D7542E200}"/>
              </a:ext>
            </a:extLst>
          </p:cNvPr>
          <p:cNvSpPr/>
          <p:nvPr/>
        </p:nvSpPr>
        <p:spPr>
          <a:xfrm>
            <a:off x="4091412" y="3205875"/>
            <a:ext cx="1262095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table creation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Diamond 31">
            <a:extLst>
              <a:ext uri="{FF2B5EF4-FFF2-40B4-BE49-F238E27FC236}">
                <a16:creationId xmlns:a16="http://schemas.microsoft.com/office/drawing/2014/main" id="{5EA3D951-B983-A2C7-DF6C-15C625CC57EA}"/>
              </a:ext>
            </a:extLst>
          </p:cNvPr>
          <p:cNvSpPr/>
          <p:nvPr/>
        </p:nvSpPr>
        <p:spPr>
          <a:xfrm>
            <a:off x="1916537" y="3196623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1900460-6533-DB53-6726-F07B36029BD8}"/>
              </a:ext>
            </a:extLst>
          </p:cNvPr>
          <p:cNvSpPr/>
          <p:nvPr/>
        </p:nvSpPr>
        <p:spPr>
          <a:xfrm>
            <a:off x="2155439" y="4401646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e 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</a:t>
            </a:r>
            <a:endParaRPr lang="en-ID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Diamond 33">
            <a:extLst>
              <a:ext uri="{FF2B5EF4-FFF2-40B4-BE49-F238E27FC236}">
                <a16:creationId xmlns:a16="http://schemas.microsoft.com/office/drawing/2014/main" id="{83250563-4C5C-0E05-E82D-E3E39C5EAD4B}"/>
              </a:ext>
            </a:extLst>
          </p:cNvPr>
          <p:cNvSpPr/>
          <p:nvPr/>
        </p:nvSpPr>
        <p:spPr>
          <a:xfrm>
            <a:off x="1916536" y="5112179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e error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6E6F617-01D3-C7A2-F7C4-4903D80ABB78}"/>
              </a:ext>
            </a:extLst>
          </p:cNvPr>
          <p:cNvCxnSpPr>
            <a:cxnSpLocks/>
          </p:cNvCxnSpPr>
          <p:nvPr/>
        </p:nvCxnSpPr>
        <p:spPr>
          <a:xfrm>
            <a:off x="3393841" y="2249824"/>
            <a:ext cx="458668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A235574-ECC7-6720-944D-AF4730FBEAA3}"/>
              </a:ext>
            </a:extLst>
          </p:cNvPr>
          <p:cNvCxnSpPr>
            <a:cxnSpLocks/>
            <a:stCxn id="30" idx="2"/>
            <a:endCxn id="31" idx="0"/>
          </p:cNvCxnSpPr>
          <p:nvPr/>
        </p:nvCxnSpPr>
        <p:spPr>
          <a:xfrm>
            <a:off x="4722459" y="2586621"/>
            <a:ext cx="1" cy="61925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75969BFC-B480-C44D-00B2-C4EA66C00AF2}"/>
              </a:ext>
            </a:extLst>
          </p:cNvPr>
          <p:cNvCxnSpPr>
            <a:cxnSpLocks/>
          </p:cNvCxnSpPr>
          <p:nvPr/>
        </p:nvCxnSpPr>
        <p:spPr>
          <a:xfrm flipH="1">
            <a:off x="3656437" y="3533419"/>
            <a:ext cx="434975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8626AC69-0149-B0EF-83B4-AB92E11F3CC3}"/>
              </a:ext>
            </a:extLst>
          </p:cNvPr>
          <p:cNvCxnSpPr>
            <a:cxnSpLocks/>
            <a:stCxn id="32" idx="2"/>
            <a:endCxn id="327" idx="0"/>
          </p:cNvCxnSpPr>
          <p:nvPr/>
        </p:nvCxnSpPr>
        <p:spPr>
          <a:xfrm>
            <a:off x="2786487" y="3870216"/>
            <a:ext cx="0" cy="11617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7FD1A2B-9D26-CC96-BEA0-BF108CE5C908}"/>
              </a:ext>
            </a:extLst>
          </p:cNvPr>
          <p:cNvCxnSpPr>
            <a:cxnSpLocks/>
            <a:stCxn id="33" idx="2"/>
            <a:endCxn id="34" idx="0"/>
          </p:cNvCxnSpPr>
          <p:nvPr/>
        </p:nvCxnSpPr>
        <p:spPr>
          <a:xfrm flipH="1">
            <a:off x="2786486" y="4893428"/>
            <a:ext cx="1" cy="21875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3C8C04AE-07EC-9460-D110-1BC216CB163E}"/>
              </a:ext>
            </a:extLst>
          </p:cNvPr>
          <p:cNvSpPr/>
          <p:nvPr/>
        </p:nvSpPr>
        <p:spPr>
          <a:xfrm>
            <a:off x="4711660" y="5203084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in DB</a:t>
            </a:r>
            <a:endParaRPr lang="en-ID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097A99F-2E04-620C-4263-33411AABC868}"/>
              </a:ext>
            </a:extLst>
          </p:cNvPr>
          <p:cNvCxnSpPr>
            <a:cxnSpLocks/>
            <a:stCxn id="34" idx="3"/>
            <a:endCxn id="52" idx="1"/>
          </p:cNvCxnSpPr>
          <p:nvPr/>
        </p:nvCxnSpPr>
        <p:spPr>
          <a:xfrm flipV="1">
            <a:off x="3656436" y="5448975"/>
            <a:ext cx="1055224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D29BDED1-11F1-B9FB-FEED-8A926E8721B9}"/>
              </a:ext>
            </a:extLst>
          </p:cNvPr>
          <p:cNvGrpSpPr/>
          <p:nvPr/>
        </p:nvGrpSpPr>
        <p:grpSpPr>
          <a:xfrm>
            <a:off x="584229" y="5257207"/>
            <a:ext cx="596172" cy="383537"/>
            <a:chOff x="1834931" y="5649539"/>
            <a:chExt cx="596172" cy="383537"/>
          </a:xfrm>
        </p:grpSpPr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15A950CE-52A5-CE6B-462D-5E8EDCB602C9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09A5F303-F35E-1F8C-4032-84865A89D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B53F9EF-7BDA-26B4-5D74-54259105849D}"/>
              </a:ext>
            </a:extLst>
          </p:cNvPr>
          <p:cNvGrpSpPr/>
          <p:nvPr/>
        </p:nvGrpSpPr>
        <p:grpSpPr>
          <a:xfrm>
            <a:off x="584229" y="3341651"/>
            <a:ext cx="596172" cy="383537"/>
            <a:chOff x="1834931" y="5649539"/>
            <a:chExt cx="596172" cy="383537"/>
          </a:xfrm>
        </p:grpSpPr>
        <p:sp>
          <p:nvSpPr>
            <p:cNvPr id="122" name="Rectangle: Rounded Corners 121">
              <a:extLst>
                <a:ext uri="{FF2B5EF4-FFF2-40B4-BE49-F238E27FC236}">
                  <a16:creationId xmlns:a16="http://schemas.microsoft.com/office/drawing/2014/main" id="{B4813C56-F6A9-2450-41DB-2D4018AD4BCB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C45B9182-D4DD-D452-F137-0B6B8E9750A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125" name="Oval 124">
            <a:extLst>
              <a:ext uri="{FF2B5EF4-FFF2-40B4-BE49-F238E27FC236}">
                <a16:creationId xmlns:a16="http://schemas.microsoft.com/office/drawing/2014/main" id="{F1D1F616-BD10-E956-A0CC-B0641F6DAA9D}"/>
              </a:ext>
            </a:extLst>
          </p:cNvPr>
          <p:cNvSpPr/>
          <p:nvPr/>
        </p:nvSpPr>
        <p:spPr>
          <a:xfrm>
            <a:off x="4578982" y="2724122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F527D760-0457-C5A5-7EF5-255EF266F5A2}"/>
              </a:ext>
            </a:extLst>
          </p:cNvPr>
          <p:cNvCxnSpPr>
            <a:cxnSpLocks/>
            <a:stCxn id="16" idx="6"/>
            <a:endCxn id="27" idx="1"/>
          </p:cNvCxnSpPr>
          <p:nvPr/>
        </p:nvCxnSpPr>
        <p:spPr>
          <a:xfrm flipV="1">
            <a:off x="1597471" y="2249824"/>
            <a:ext cx="534275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95854B2A-D2B1-CF6C-9780-C5410A9CC423}"/>
              </a:ext>
            </a:extLst>
          </p:cNvPr>
          <p:cNvCxnSpPr>
            <a:cxnSpLocks/>
          </p:cNvCxnSpPr>
          <p:nvPr/>
        </p:nvCxnSpPr>
        <p:spPr>
          <a:xfrm>
            <a:off x="354375" y="1801366"/>
            <a:ext cx="57416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F871B599-9A2C-E634-1876-61D4049D2AB2}"/>
              </a:ext>
            </a:extLst>
          </p:cNvPr>
          <p:cNvCxnSpPr>
            <a:cxnSpLocks/>
            <a:stCxn id="32" idx="1"/>
            <a:endCxn id="122" idx="3"/>
          </p:cNvCxnSpPr>
          <p:nvPr/>
        </p:nvCxnSpPr>
        <p:spPr>
          <a:xfrm flipH="1" flipV="1">
            <a:off x="1180401" y="3530837"/>
            <a:ext cx="736136" cy="258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id="{C317E4A3-5B2D-8BAF-ACFD-24759EEAC56A}"/>
              </a:ext>
            </a:extLst>
          </p:cNvPr>
          <p:cNvCxnSpPr>
            <a:cxnSpLocks/>
            <a:stCxn id="34" idx="1"/>
            <a:endCxn id="111" idx="3"/>
          </p:cNvCxnSpPr>
          <p:nvPr/>
        </p:nvCxnSpPr>
        <p:spPr>
          <a:xfrm flipH="1" flipV="1">
            <a:off x="1180401" y="5446393"/>
            <a:ext cx="736135" cy="258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7" name="Oval 246">
            <a:extLst>
              <a:ext uri="{FF2B5EF4-FFF2-40B4-BE49-F238E27FC236}">
                <a16:creationId xmlns:a16="http://schemas.microsoft.com/office/drawing/2014/main" id="{F8115464-2DB6-19B5-CA71-C8B31804FCC4}"/>
              </a:ext>
            </a:extLst>
          </p:cNvPr>
          <p:cNvSpPr/>
          <p:nvPr/>
        </p:nvSpPr>
        <p:spPr>
          <a:xfrm>
            <a:off x="3974480" y="5305499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" name="Rectangle: Rounded Corners 282">
            <a:extLst>
              <a:ext uri="{FF2B5EF4-FFF2-40B4-BE49-F238E27FC236}">
                <a16:creationId xmlns:a16="http://schemas.microsoft.com/office/drawing/2014/main" id="{8A4445BE-B777-7DEF-39BF-ECEE7969A725}"/>
              </a:ext>
            </a:extLst>
          </p:cNvPr>
          <p:cNvSpPr/>
          <p:nvPr/>
        </p:nvSpPr>
        <p:spPr>
          <a:xfrm>
            <a:off x="6785423" y="1922280"/>
            <a:ext cx="1359888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13DEE064-212C-02FF-A85C-5E2F795C2D03}"/>
              </a:ext>
            </a:extLst>
          </p:cNvPr>
          <p:cNvCxnSpPr>
            <a:cxnSpLocks/>
            <a:stCxn id="30" idx="3"/>
            <a:endCxn id="283" idx="1"/>
          </p:cNvCxnSpPr>
          <p:nvPr/>
        </p:nvCxnSpPr>
        <p:spPr>
          <a:xfrm flipV="1">
            <a:off x="5592409" y="2249824"/>
            <a:ext cx="1193014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1" name="Rectangle: Rounded Corners 290">
            <a:extLst>
              <a:ext uri="{FF2B5EF4-FFF2-40B4-BE49-F238E27FC236}">
                <a16:creationId xmlns:a16="http://schemas.microsoft.com/office/drawing/2014/main" id="{DFA8EDCA-876D-59E5-98C1-9ABAA9C532BF}"/>
              </a:ext>
            </a:extLst>
          </p:cNvPr>
          <p:cNvSpPr/>
          <p:nvPr/>
        </p:nvSpPr>
        <p:spPr>
          <a:xfrm>
            <a:off x="8590001" y="2003933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_id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2F36B534-D31D-D8C2-A3A0-1794609385C0}"/>
              </a:ext>
            </a:extLst>
          </p:cNvPr>
          <p:cNvSpPr/>
          <p:nvPr/>
        </p:nvSpPr>
        <p:spPr>
          <a:xfrm>
            <a:off x="10191214" y="1922280"/>
            <a:ext cx="1359888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Rectangle: Rounded Corners 294">
            <a:extLst>
              <a:ext uri="{FF2B5EF4-FFF2-40B4-BE49-F238E27FC236}">
                <a16:creationId xmlns:a16="http://schemas.microsoft.com/office/drawing/2014/main" id="{3322E5B4-4F36-BADB-BC32-E57015AA04DE}"/>
              </a:ext>
            </a:extLst>
          </p:cNvPr>
          <p:cNvSpPr/>
          <p:nvPr/>
        </p:nvSpPr>
        <p:spPr>
          <a:xfrm>
            <a:off x="10240110" y="2937217"/>
            <a:ext cx="1262095" cy="596201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_i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_i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6" name="Rectangle: Rounded Corners 295">
            <a:extLst>
              <a:ext uri="{FF2B5EF4-FFF2-40B4-BE49-F238E27FC236}">
                <a16:creationId xmlns:a16="http://schemas.microsoft.com/office/drawing/2014/main" id="{23301AEC-34F8-EC65-649B-1D2C4EEBB445}"/>
              </a:ext>
            </a:extLst>
          </p:cNvPr>
          <p:cNvSpPr/>
          <p:nvPr/>
        </p:nvSpPr>
        <p:spPr>
          <a:xfrm>
            <a:off x="8590001" y="2907773"/>
            <a:ext cx="1359888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de</a:t>
            </a:r>
          </a:p>
        </p:txBody>
      </p:sp>
      <p:cxnSp>
        <p:nvCxnSpPr>
          <p:cNvPr id="297" name="Straight Arrow Connector 296">
            <a:extLst>
              <a:ext uri="{FF2B5EF4-FFF2-40B4-BE49-F238E27FC236}">
                <a16:creationId xmlns:a16="http://schemas.microsoft.com/office/drawing/2014/main" id="{FF6D7D66-4104-8AAA-CE0E-A502F35DE90D}"/>
              </a:ext>
            </a:extLst>
          </p:cNvPr>
          <p:cNvCxnSpPr>
            <a:cxnSpLocks/>
            <a:stCxn id="283" idx="3"/>
            <a:endCxn id="291" idx="1"/>
          </p:cNvCxnSpPr>
          <p:nvPr/>
        </p:nvCxnSpPr>
        <p:spPr>
          <a:xfrm>
            <a:off x="8145311" y="2249824"/>
            <a:ext cx="444690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0" name="Straight Arrow Connector 299">
            <a:extLst>
              <a:ext uri="{FF2B5EF4-FFF2-40B4-BE49-F238E27FC236}">
                <a16:creationId xmlns:a16="http://schemas.microsoft.com/office/drawing/2014/main" id="{8328AC82-88D6-8F88-A6E7-54A22BF1D557}"/>
              </a:ext>
            </a:extLst>
          </p:cNvPr>
          <p:cNvCxnSpPr>
            <a:cxnSpLocks/>
            <a:stCxn id="291" idx="3"/>
            <a:endCxn id="294" idx="1"/>
          </p:cNvCxnSpPr>
          <p:nvPr/>
        </p:nvCxnSpPr>
        <p:spPr>
          <a:xfrm>
            <a:off x="9852096" y="2249824"/>
            <a:ext cx="339118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BBCCDD63-6F2E-CE8B-80A6-0760E7547CF6}"/>
              </a:ext>
            </a:extLst>
          </p:cNvPr>
          <p:cNvCxnSpPr>
            <a:cxnSpLocks/>
          </p:cNvCxnSpPr>
          <p:nvPr/>
        </p:nvCxnSpPr>
        <p:spPr>
          <a:xfrm>
            <a:off x="10912390" y="2577368"/>
            <a:ext cx="0" cy="35984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7" name="Straight Arrow Connector 306">
            <a:extLst>
              <a:ext uri="{FF2B5EF4-FFF2-40B4-BE49-F238E27FC236}">
                <a16:creationId xmlns:a16="http://schemas.microsoft.com/office/drawing/2014/main" id="{B8D11767-AF67-3D47-5B33-DB11334FE2B7}"/>
              </a:ext>
            </a:extLst>
          </p:cNvPr>
          <p:cNvCxnSpPr>
            <a:cxnSpLocks/>
            <a:stCxn id="295" idx="1"/>
            <a:endCxn id="296" idx="3"/>
          </p:cNvCxnSpPr>
          <p:nvPr/>
        </p:nvCxnSpPr>
        <p:spPr>
          <a:xfrm flipH="1" flipV="1">
            <a:off x="9949889" y="3235317"/>
            <a:ext cx="290221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0" name="Straight Arrow Connector 309">
            <a:extLst>
              <a:ext uri="{FF2B5EF4-FFF2-40B4-BE49-F238E27FC236}">
                <a16:creationId xmlns:a16="http://schemas.microsoft.com/office/drawing/2014/main" id="{1F341167-61CB-F07E-0303-C93A21A104B5}"/>
              </a:ext>
            </a:extLst>
          </p:cNvPr>
          <p:cNvCxnSpPr>
            <a:cxnSpLocks/>
            <a:stCxn id="296" idx="1"/>
            <a:endCxn id="314" idx="0"/>
          </p:cNvCxnSpPr>
          <p:nvPr/>
        </p:nvCxnSpPr>
        <p:spPr>
          <a:xfrm rot="10800000" flipV="1">
            <a:off x="7572359" y="3235317"/>
            <a:ext cx="1017643" cy="567034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4" name="Rectangle: Rounded Corners 313">
            <a:extLst>
              <a:ext uri="{FF2B5EF4-FFF2-40B4-BE49-F238E27FC236}">
                <a16:creationId xmlns:a16="http://schemas.microsoft.com/office/drawing/2014/main" id="{FA5FF300-9B86-DAE8-434B-811B5CB40235}"/>
              </a:ext>
            </a:extLst>
          </p:cNvPr>
          <p:cNvSpPr/>
          <p:nvPr/>
        </p:nvSpPr>
        <p:spPr>
          <a:xfrm>
            <a:off x="6785423" y="3802351"/>
            <a:ext cx="1573869" cy="893474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data to DB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de</a:t>
            </a:r>
          </a:p>
        </p:txBody>
      </p:sp>
      <p:sp>
        <p:nvSpPr>
          <p:cNvPr id="322" name="Diamond 321">
            <a:extLst>
              <a:ext uri="{FF2B5EF4-FFF2-40B4-BE49-F238E27FC236}">
                <a16:creationId xmlns:a16="http://schemas.microsoft.com/office/drawing/2014/main" id="{038B8C04-CE86-C2D7-3D18-885CBF9994E5}"/>
              </a:ext>
            </a:extLst>
          </p:cNvPr>
          <p:cNvSpPr/>
          <p:nvPr/>
        </p:nvSpPr>
        <p:spPr>
          <a:xfrm>
            <a:off x="8817618" y="3921102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error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1C7540A5-2CA0-0DDB-59B5-A22B5E1DD824}"/>
              </a:ext>
            </a:extLst>
          </p:cNvPr>
          <p:cNvGrpSpPr/>
          <p:nvPr/>
        </p:nvGrpSpPr>
        <p:grpSpPr>
          <a:xfrm>
            <a:off x="11160485" y="4066129"/>
            <a:ext cx="596172" cy="383537"/>
            <a:chOff x="1834931" y="5649539"/>
            <a:chExt cx="596172" cy="383537"/>
          </a:xfrm>
        </p:grpSpPr>
        <p:sp>
          <p:nvSpPr>
            <p:cNvPr id="325" name="Rectangle: Rounded Corners 324">
              <a:extLst>
                <a:ext uri="{FF2B5EF4-FFF2-40B4-BE49-F238E27FC236}">
                  <a16:creationId xmlns:a16="http://schemas.microsoft.com/office/drawing/2014/main" id="{FC0233C3-3CA2-0EAC-78F5-F410BBC423EC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6" name="Picture 325">
              <a:extLst>
                <a:ext uri="{FF2B5EF4-FFF2-40B4-BE49-F238E27FC236}">
                  <a16:creationId xmlns:a16="http://schemas.microsoft.com/office/drawing/2014/main" id="{5D661FE8-56D2-EE58-F240-BADCAAD68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327" name="Oval 326">
            <a:extLst>
              <a:ext uri="{FF2B5EF4-FFF2-40B4-BE49-F238E27FC236}">
                <a16:creationId xmlns:a16="http://schemas.microsoft.com/office/drawing/2014/main" id="{8906A03E-314B-C16C-4A1B-D038A841E792}"/>
              </a:ext>
            </a:extLst>
          </p:cNvPr>
          <p:cNvSpPr/>
          <p:nvPr/>
        </p:nvSpPr>
        <p:spPr>
          <a:xfrm>
            <a:off x="2643010" y="3986389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9" name="Straight Arrow Connector 328">
            <a:extLst>
              <a:ext uri="{FF2B5EF4-FFF2-40B4-BE49-F238E27FC236}">
                <a16:creationId xmlns:a16="http://schemas.microsoft.com/office/drawing/2014/main" id="{F136E7D1-EC8C-DC08-AC0A-B77B1B05A0CF}"/>
              </a:ext>
            </a:extLst>
          </p:cNvPr>
          <p:cNvCxnSpPr>
            <a:cxnSpLocks/>
            <a:stCxn id="327" idx="4"/>
            <a:endCxn id="33" idx="0"/>
          </p:cNvCxnSpPr>
          <p:nvPr/>
        </p:nvCxnSpPr>
        <p:spPr>
          <a:xfrm>
            <a:off x="2786487" y="4273342"/>
            <a:ext cx="0" cy="12830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2" name="Oval 341">
            <a:extLst>
              <a:ext uri="{FF2B5EF4-FFF2-40B4-BE49-F238E27FC236}">
                <a16:creationId xmlns:a16="http://schemas.microsoft.com/office/drawing/2014/main" id="{CA8D3F8A-2D59-A26A-4B20-51C49A032DF7}"/>
              </a:ext>
            </a:extLst>
          </p:cNvPr>
          <p:cNvSpPr/>
          <p:nvPr/>
        </p:nvSpPr>
        <p:spPr>
          <a:xfrm>
            <a:off x="10553523" y="5555088"/>
            <a:ext cx="1129527" cy="491795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6" name="Straight Arrow Connector 345">
            <a:extLst>
              <a:ext uri="{FF2B5EF4-FFF2-40B4-BE49-F238E27FC236}">
                <a16:creationId xmlns:a16="http://schemas.microsoft.com/office/drawing/2014/main" id="{799A120D-2BCA-7B3C-44F8-A4DA142FF409}"/>
              </a:ext>
            </a:extLst>
          </p:cNvPr>
          <p:cNvCxnSpPr>
            <a:cxnSpLocks/>
            <a:stCxn id="410" idx="3"/>
            <a:endCxn id="342" idx="2"/>
          </p:cNvCxnSpPr>
          <p:nvPr/>
        </p:nvCxnSpPr>
        <p:spPr>
          <a:xfrm flipV="1">
            <a:off x="10318614" y="5800986"/>
            <a:ext cx="234909" cy="630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0" name="Straight Arrow Connector 349">
            <a:extLst>
              <a:ext uri="{FF2B5EF4-FFF2-40B4-BE49-F238E27FC236}">
                <a16:creationId xmlns:a16="http://schemas.microsoft.com/office/drawing/2014/main" id="{1E486C03-E061-657A-5E4B-2A8FF6642BC2}"/>
              </a:ext>
            </a:extLst>
          </p:cNvPr>
          <p:cNvCxnSpPr>
            <a:cxnSpLocks/>
            <a:stCxn id="314" idx="3"/>
            <a:endCxn id="322" idx="1"/>
          </p:cNvCxnSpPr>
          <p:nvPr/>
        </p:nvCxnSpPr>
        <p:spPr>
          <a:xfrm>
            <a:off x="8359292" y="4249088"/>
            <a:ext cx="458326" cy="881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4" name="Straight Arrow Connector 353">
            <a:extLst>
              <a:ext uri="{FF2B5EF4-FFF2-40B4-BE49-F238E27FC236}">
                <a16:creationId xmlns:a16="http://schemas.microsoft.com/office/drawing/2014/main" id="{2A450642-1B53-35E8-A305-69409B8A126E}"/>
              </a:ext>
            </a:extLst>
          </p:cNvPr>
          <p:cNvCxnSpPr>
            <a:cxnSpLocks/>
            <a:stCxn id="322" idx="2"/>
            <a:endCxn id="410" idx="0"/>
          </p:cNvCxnSpPr>
          <p:nvPr/>
        </p:nvCxnSpPr>
        <p:spPr>
          <a:xfrm flipH="1">
            <a:off x="9687567" y="4594695"/>
            <a:ext cx="1" cy="96670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3" name="Oval 322">
            <a:extLst>
              <a:ext uri="{FF2B5EF4-FFF2-40B4-BE49-F238E27FC236}">
                <a16:creationId xmlns:a16="http://schemas.microsoft.com/office/drawing/2014/main" id="{60CA1572-B05B-788F-FA95-8B1BE3DABD57}"/>
              </a:ext>
            </a:extLst>
          </p:cNvPr>
          <p:cNvSpPr/>
          <p:nvPr/>
        </p:nvSpPr>
        <p:spPr>
          <a:xfrm>
            <a:off x="9544091" y="4933743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3" name="Straight Arrow Connector 362">
            <a:extLst>
              <a:ext uri="{FF2B5EF4-FFF2-40B4-BE49-F238E27FC236}">
                <a16:creationId xmlns:a16="http://schemas.microsoft.com/office/drawing/2014/main" id="{ED18DB69-E6CC-B57F-DAC8-BD6F016A2326}"/>
              </a:ext>
            </a:extLst>
          </p:cNvPr>
          <p:cNvCxnSpPr>
            <a:cxnSpLocks/>
            <a:stCxn id="322" idx="3"/>
            <a:endCxn id="325" idx="1"/>
          </p:cNvCxnSpPr>
          <p:nvPr/>
        </p:nvCxnSpPr>
        <p:spPr>
          <a:xfrm flipV="1">
            <a:off x="10557518" y="4255315"/>
            <a:ext cx="602967" cy="258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2" name="Oval 361">
            <a:extLst>
              <a:ext uri="{FF2B5EF4-FFF2-40B4-BE49-F238E27FC236}">
                <a16:creationId xmlns:a16="http://schemas.microsoft.com/office/drawing/2014/main" id="{3175C921-CFD9-152B-676C-40763B1D888D}"/>
              </a:ext>
            </a:extLst>
          </p:cNvPr>
          <p:cNvSpPr/>
          <p:nvPr/>
        </p:nvSpPr>
        <p:spPr>
          <a:xfrm>
            <a:off x="10718925" y="4129865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4F51CE94-7E80-5B76-E0B5-FC78857F1DC3}"/>
              </a:ext>
            </a:extLst>
          </p:cNvPr>
          <p:cNvSpPr/>
          <p:nvPr/>
        </p:nvSpPr>
        <p:spPr>
          <a:xfrm>
            <a:off x="1409333" y="3389943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1B0641BE-D672-92D8-2995-9B7864013DC4}"/>
              </a:ext>
            </a:extLst>
          </p:cNvPr>
          <p:cNvSpPr/>
          <p:nvPr/>
        </p:nvSpPr>
        <p:spPr>
          <a:xfrm>
            <a:off x="1409333" y="5305499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9547FD53-E368-9C1E-B871-5B4FE4DAEEFD}"/>
              </a:ext>
            </a:extLst>
          </p:cNvPr>
          <p:cNvSpPr/>
          <p:nvPr/>
        </p:nvSpPr>
        <p:spPr>
          <a:xfrm>
            <a:off x="6220533" y="2106348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8E2C16B2-5725-8D79-B766-D603419D0ABF}"/>
              </a:ext>
            </a:extLst>
          </p:cNvPr>
          <p:cNvCxnSpPr>
            <a:cxnSpLocks/>
          </p:cNvCxnSpPr>
          <p:nvPr/>
        </p:nvCxnSpPr>
        <p:spPr>
          <a:xfrm>
            <a:off x="6127065" y="1796192"/>
            <a:ext cx="0" cy="4380394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Arrow Connector 309">
            <a:extLst>
              <a:ext uri="{FF2B5EF4-FFF2-40B4-BE49-F238E27FC236}">
                <a16:creationId xmlns:a16="http://schemas.microsoft.com/office/drawing/2014/main" id="{E27D0783-6827-2C10-80CA-FC134CF64156}"/>
              </a:ext>
            </a:extLst>
          </p:cNvPr>
          <p:cNvCxnSpPr>
            <a:cxnSpLocks/>
            <a:stCxn id="52" idx="3"/>
            <a:endCxn id="136" idx="4"/>
          </p:cNvCxnSpPr>
          <p:nvPr/>
        </p:nvCxnSpPr>
        <p:spPr>
          <a:xfrm flipV="1">
            <a:off x="5973755" y="2393301"/>
            <a:ext cx="390255" cy="3055674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1E3AE3E0-13D7-2105-A97B-FA4A7DD6111B}"/>
              </a:ext>
            </a:extLst>
          </p:cNvPr>
          <p:cNvGrpSpPr/>
          <p:nvPr/>
        </p:nvGrpSpPr>
        <p:grpSpPr>
          <a:xfrm>
            <a:off x="367575" y="6495090"/>
            <a:ext cx="866299" cy="223796"/>
            <a:chOff x="234026" y="6426622"/>
            <a:chExt cx="953105" cy="246221"/>
          </a:xfrm>
        </p:grpSpPr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A7783251-632E-3F42-FF38-0BCBEE707FD7}"/>
                </a:ext>
              </a:extLst>
            </p:cNvPr>
            <p:cNvSpPr/>
            <p:nvPr/>
          </p:nvSpPr>
          <p:spPr>
            <a:xfrm>
              <a:off x="306026" y="6449427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endParaRPr lang="en-ID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091E7E36-1637-952F-2D56-A86577DC2788}"/>
                </a:ext>
              </a:extLst>
            </p:cNvPr>
            <p:cNvSpPr txBox="1"/>
            <p:nvPr/>
          </p:nvSpPr>
          <p:spPr>
            <a:xfrm>
              <a:off x="234026" y="6426622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19C60C10-C1B0-17D4-F737-5A609B5209A9}"/>
              </a:ext>
            </a:extLst>
          </p:cNvPr>
          <p:cNvGrpSpPr/>
          <p:nvPr/>
        </p:nvGrpSpPr>
        <p:grpSpPr>
          <a:xfrm>
            <a:off x="992587" y="6495090"/>
            <a:ext cx="866299" cy="223796"/>
            <a:chOff x="1261221" y="6411327"/>
            <a:chExt cx="953105" cy="246221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9C19EE1F-F0F9-4C39-44A2-4A73D9F4B2CF}"/>
                </a:ext>
              </a:extLst>
            </p:cNvPr>
            <p:cNvSpPr/>
            <p:nvPr/>
          </p:nvSpPr>
          <p:spPr>
            <a:xfrm>
              <a:off x="1367589" y="6440405"/>
              <a:ext cx="216000" cy="216000"/>
            </a:xfrm>
            <a:prstGeom prst="ellipse">
              <a:avLst/>
            </a:prstGeom>
            <a:solidFill>
              <a:srgbClr val="071F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en-ID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8A1A50DC-3B01-911F-0894-7B07AB4F0BA0}"/>
                </a:ext>
              </a:extLst>
            </p:cNvPr>
            <p:cNvSpPr txBox="1"/>
            <p:nvPr/>
          </p:nvSpPr>
          <p:spPr>
            <a:xfrm>
              <a:off x="1261221" y="6411327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F7B4B039-CE63-B5C3-861A-B62142680416}"/>
              </a:ext>
            </a:extLst>
          </p:cNvPr>
          <p:cNvGrpSpPr/>
          <p:nvPr/>
        </p:nvGrpSpPr>
        <p:grpSpPr>
          <a:xfrm>
            <a:off x="1715801" y="6483878"/>
            <a:ext cx="2291133" cy="246221"/>
            <a:chOff x="2648707" y="6401937"/>
            <a:chExt cx="2520714" cy="270893"/>
          </a:xfrm>
        </p:grpSpPr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88B24242-9153-7714-6E91-B79926754F1B}"/>
                </a:ext>
              </a:extLst>
            </p:cNvPr>
            <p:cNvGrpSpPr/>
            <p:nvPr/>
          </p:nvGrpSpPr>
          <p:grpSpPr>
            <a:xfrm>
              <a:off x="2648707" y="6435587"/>
              <a:ext cx="360000" cy="216000"/>
              <a:chOff x="1834931" y="5649539"/>
              <a:chExt cx="596172" cy="383537"/>
            </a:xfrm>
          </p:grpSpPr>
          <p:sp>
            <p:nvSpPr>
              <p:cNvPr id="398" name="Rectangle: Rounded Corners 397">
                <a:extLst>
                  <a:ext uri="{FF2B5EF4-FFF2-40B4-BE49-F238E27FC236}">
                    <a16:creationId xmlns:a16="http://schemas.microsoft.com/office/drawing/2014/main" id="{0DFBA8C2-5236-C460-8E14-395655C2F9BF}"/>
                  </a:ext>
                </a:extLst>
              </p:cNvPr>
              <p:cNvSpPr/>
              <p:nvPr/>
            </p:nvSpPr>
            <p:spPr>
              <a:xfrm>
                <a:off x="1834931" y="5649539"/>
                <a:ext cx="596172" cy="378371"/>
              </a:xfrm>
              <a:prstGeom prst="roundRect">
                <a:avLst/>
              </a:prstGeom>
              <a:solidFill>
                <a:srgbClr val="EEEEEE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99" name="Picture 398">
                <a:extLst>
                  <a:ext uri="{FF2B5EF4-FFF2-40B4-BE49-F238E27FC236}">
                    <a16:creationId xmlns:a16="http://schemas.microsoft.com/office/drawing/2014/main" id="{631D1DA7-EC5C-5577-A710-62F7A599C2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85265" y="5654705"/>
                <a:ext cx="504107" cy="378371"/>
              </a:xfrm>
              <a:prstGeom prst="rect">
                <a:avLst/>
              </a:prstGeom>
            </p:spPr>
          </p:pic>
        </p:grp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63E5112D-B7CF-EE64-86DA-B6AA9AB910CD}"/>
                </a:ext>
              </a:extLst>
            </p:cNvPr>
            <p:cNvSpPr txBox="1"/>
            <p:nvPr/>
          </p:nvSpPr>
          <p:spPr>
            <a:xfrm>
              <a:off x="2876500" y="6401937"/>
              <a:ext cx="2292921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error/retry alert to discord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9" name="TextBox 408">
            <a:extLst>
              <a:ext uri="{FF2B5EF4-FFF2-40B4-BE49-F238E27FC236}">
                <a16:creationId xmlns:a16="http://schemas.microsoft.com/office/drawing/2014/main" id="{5593DEC4-A216-D5DD-6C46-1E47C98C7928}"/>
              </a:ext>
            </a:extLst>
          </p:cNvPr>
          <p:cNvSpPr txBox="1"/>
          <p:nvPr/>
        </p:nvSpPr>
        <p:spPr>
          <a:xfrm>
            <a:off x="4042019" y="3840319"/>
            <a:ext cx="162672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.</a:t>
            </a:r>
            <a:r>
              <a:rPr lang="en-US" sz="1050" b="1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ql</a:t>
            </a:r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file </a:t>
            </a:r>
            <a:r>
              <a:rPr lang="en-US" sz="105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ntains DDL commands – refer to Appendix 1</a:t>
            </a:r>
            <a:endParaRPr kumimoji="0" lang="en-US" sz="1050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410" name="Rectangle: Rounded Corners 409">
            <a:extLst>
              <a:ext uri="{FF2B5EF4-FFF2-40B4-BE49-F238E27FC236}">
                <a16:creationId xmlns:a16="http://schemas.microsoft.com/office/drawing/2014/main" id="{0310C3D8-F5BA-D5CB-6B37-F9AD0A8B759D}"/>
              </a:ext>
            </a:extLst>
          </p:cNvPr>
          <p:cNvSpPr/>
          <p:nvPr/>
        </p:nvSpPr>
        <p:spPr>
          <a:xfrm>
            <a:off x="9056519" y="5561404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loaded to DB</a:t>
            </a:r>
            <a:endParaRPr lang="en-ID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FFC6DBB2-9847-7ACE-0C41-656DBE7000F2}"/>
              </a:ext>
            </a:extLst>
          </p:cNvPr>
          <p:cNvGrpSpPr/>
          <p:nvPr/>
        </p:nvGrpSpPr>
        <p:grpSpPr>
          <a:xfrm>
            <a:off x="3974480" y="6483878"/>
            <a:ext cx="1717312" cy="246221"/>
            <a:chOff x="4873325" y="6463091"/>
            <a:chExt cx="1889394" cy="270893"/>
          </a:xfrm>
        </p:grpSpPr>
        <p:sp>
          <p:nvSpPr>
            <p:cNvPr id="419" name="Rectangle: Rounded Corners 418">
              <a:extLst>
                <a:ext uri="{FF2B5EF4-FFF2-40B4-BE49-F238E27FC236}">
                  <a16:creationId xmlns:a16="http://schemas.microsoft.com/office/drawing/2014/main" id="{43F5FA3A-D291-16F9-4F58-FDF3B7591E33}"/>
                </a:ext>
              </a:extLst>
            </p:cNvPr>
            <p:cNvSpPr/>
            <p:nvPr/>
          </p:nvSpPr>
          <p:spPr>
            <a:xfrm>
              <a:off x="4873325" y="6491993"/>
              <a:ext cx="353902" cy="208705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2552E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86A6C5EF-8C2D-E190-2ACB-D5C03622186E}"/>
                </a:ext>
              </a:extLst>
            </p:cNvPr>
            <p:cNvSpPr txBox="1"/>
            <p:nvPr/>
          </p:nvSpPr>
          <p:spPr>
            <a:xfrm>
              <a:off x="5149553" y="6463091"/>
              <a:ext cx="1613166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t process in a task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BE35A45-3DD8-834A-CF52-32F9797DF729}"/>
              </a:ext>
            </a:extLst>
          </p:cNvPr>
          <p:cNvSpPr txBox="1"/>
          <p:nvPr/>
        </p:nvSpPr>
        <p:spPr>
          <a:xfrm>
            <a:off x="-12636" y="3739395"/>
            <a:ext cx="16267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iscord alert refer to Appendix 2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B5A946C-A73F-F0FD-6D23-0A3A83E80ED5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5" name="SlideLogoText">
              <a:extLst>
                <a:ext uri="{FF2B5EF4-FFF2-40B4-BE49-F238E27FC236}">
                  <a16:creationId xmlns:a16="http://schemas.microsoft.com/office/drawing/2014/main" id="{0837712E-605F-80F6-D73E-BF3F7A4C1EB0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Slide Number">
              <a:extLst>
                <a:ext uri="{FF2B5EF4-FFF2-40B4-BE49-F238E27FC236}">
                  <a16:creationId xmlns:a16="http://schemas.microsoft.com/office/drawing/2014/main" id="{214BFF07-21CE-7725-737F-FEE257919E2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2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9195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BF8AA26-E4C0-CCFE-757B-49606FDCB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C54F4FA5-A374-3DF0-18B4-B9ECABA77367}"/>
              </a:ext>
            </a:extLst>
          </p:cNvPr>
          <p:cNvCxnSpPr>
            <a:cxnSpLocks/>
          </p:cNvCxnSpPr>
          <p:nvPr/>
        </p:nvCxnSpPr>
        <p:spPr>
          <a:xfrm>
            <a:off x="7716406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03B0FAA7-6884-F177-BD95-EC1595D9147D}"/>
              </a:ext>
            </a:extLst>
          </p:cNvPr>
          <p:cNvCxnSpPr>
            <a:cxnSpLocks/>
          </p:cNvCxnSpPr>
          <p:nvPr/>
        </p:nvCxnSpPr>
        <p:spPr>
          <a:xfrm>
            <a:off x="4048368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789BE6A-F07B-652E-8E8E-E60BBFC6BBC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3A2DCD0-637D-054C-0DF0-8FA4BBDD21EB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9FBCDC97-8954-3350-612A-E09D0223138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1C8CC4E9-D2AF-63A6-08BD-D47516F8CEE9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84F055F-C533-BFE4-D25C-9E6F3EF2238E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5FCB29FC-62C0-E5C5-F9DA-20F6F767FF2B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2</a:t>
            </a:r>
            <a:r>
              <a:rPr kumimoji="0" lang="en-US" sz="2400" b="1" i="0" strike="noStrike" kern="1200" cap="none" spc="0" normalizeH="0" baseline="3000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nd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Automation logic flow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9BBDCF7-383F-3A80-2703-290A8177F4FB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CCE201F-B2B2-FD82-3C15-FD9E85EFE3DE}"/>
              </a:ext>
            </a:extLst>
          </p:cNvPr>
          <p:cNvSpPr/>
          <p:nvPr/>
        </p:nvSpPr>
        <p:spPr>
          <a:xfrm rot="16200000">
            <a:off x="5857183" y="-4503912"/>
            <a:ext cx="337762" cy="1145013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0CAFF0-6851-D454-677F-D4ACE33200C8}"/>
              </a:ext>
            </a:extLst>
          </p:cNvPr>
          <p:cNvSpPr txBox="1"/>
          <p:nvPr/>
        </p:nvSpPr>
        <p:spPr>
          <a:xfrm>
            <a:off x="287907" y="1047566"/>
            <a:ext cx="11272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_NAM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2_load_to_bigquery.py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OBJECTIV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data from PostgreSQL and UPSERT to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7685DBF-8EAC-4B17-B0A8-64CCF5639DCB}"/>
              </a:ext>
            </a:extLst>
          </p:cNvPr>
          <p:cNvSpPr/>
          <p:nvPr/>
        </p:nvSpPr>
        <p:spPr>
          <a:xfrm>
            <a:off x="96806" y="1457363"/>
            <a:ext cx="3846606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1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table existence in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0E3EAAC-73A8-FE51-8002-2FE5AD8F7849}"/>
              </a:ext>
            </a:extLst>
          </p:cNvPr>
          <p:cNvSpPr/>
          <p:nvPr/>
        </p:nvSpPr>
        <p:spPr>
          <a:xfrm>
            <a:off x="3943481" y="1457363"/>
            <a:ext cx="376084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2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 data and push DF to XCOM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0706630-910D-C5A6-02C7-CE70217C1D68}"/>
              </a:ext>
            </a:extLst>
          </p:cNvPr>
          <p:cNvCxnSpPr>
            <a:cxnSpLocks/>
          </p:cNvCxnSpPr>
          <p:nvPr/>
        </p:nvCxnSpPr>
        <p:spPr>
          <a:xfrm>
            <a:off x="4123950" y="1801366"/>
            <a:ext cx="3468341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51DEF99B-6AE9-AE9D-81E1-4953AD9497A1}"/>
              </a:ext>
            </a:extLst>
          </p:cNvPr>
          <p:cNvCxnSpPr>
            <a:cxnSpLocks/>
          </p:cNvCxnSpPr>
          <p:nvPr/>
        </p:nvCxnSpPr>
        <p:spPr>
          <a:xfrm>
            <a:off x="354375" y="1801366"/>
            <a:ext cx="362010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F7A29B83-0486-FA55-27DC-E04592522EB2}"/>
              </a:ext>
            </a:extLst>
          </p:cNvPr>
          <p:cNvGrpSpPr/>
          <p:nvPr/>
        </p:nvGrpSpPr>
        <p:grpSpPr>
          <a:xfrm>
            <a:off x="367575" y="6495090"/>
            <a:ext cx="866299" cy="223796"/>
            <a:chOff x="234026" y="6426622"/>
            <a:chExt cx="953105" cy="246221"/>
          </a:xfrm>
        </p:grpSpPr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30BD6D6E-E21D-C86B-4B09-568CE38D3EC8}"/>
                </a:ext>
              </a:extLst>
            </p:cNvPr>
            <p:cNvSpPr/>
            <p:nvPr/>
          </p:nvSpPr>
          <p:spPr>
            <a:xfrm>
              <a:off x="306026" y="6449427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endParaRPr lang="en-ID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F41026E8-28DC-CBD4-F522-A3449AF5C342}"/>
                </a:ext>
              </a:extLst>
            </p:cNvPr>
            <p:cNvSpPr txBox="1"/>
            <p:nvPr/>
          </p:nvSpPr>
          <p:spPr>
            <a:xfrm>
              <a:off x="234026" y="6426622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44DD0292-A6DF-99A0-BC19-06C569779B89}"/>
              </a:ext>
            </a:extLst>
          </p:cNvPr>
          <p:cNvGrpSpPr/>
          <p:nvPr/>
        </p:nvGrpSpPr>
        <p:grpSpPr>
          <a:xfrm>
            <a:off x="992587" y="6495090"/>
            <a:ext cx="866299" cy="223796"/>
            <a:chOff x="1261221" y="6411327"/>
            <a:chExt cx="953105" cy="246221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1B75CE1B-5613-3C31-2272-51DF9384D645}"/>
                </a:ext>
              </a:extLst>
            </p:cNvPr>
            <p:cNvSpPr/>
            <p:nvPr/>
          </p:nvSpPr>
          <p:spPr>
            <a:xfrm>
              <a:off x="1367589" y="6440405"/>
              <a:ext cx="216000" cy="216000"/>
            </a:xfrm>
            <a:prstGeom prst="ellipse">
              <a:avLst/>
            </a:prstGeom>
            <a:solidFill>
              <a:srgbClr val="071F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en-ID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B210117B-6754-0325-F7D1-6F0A40A0AAFF}"/>
                </a:ext>
              </a:extLst>
            </p:cNvPr>
            <p:cNvSpPr txBox="1"/>
            <p:nvPr/>
          </p:nvSpPr>
          <p:spPr>
            <a:xfrm>
              <a:off x="1261221" y="6411327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D3F6F902-0C73-050F-F89B-65E162628827}"/>
              </a:ext>
            </a:extLst>
          </p:cNvPr>
          <p:cNvGrpSpPr/>
          <p:nvPr/>
        </p:nvGrpSpPr>
        <p:grpSpPr>
          <a:xfrm>
            <a:off x="1715801" y="6483878"/>
            <a:ext cx="2291133" cy="246221"/>
            <a:chOff x="2648707" y="6401937"/>
            <a:chExt cx="2520714" cy="270893"/>
          </a:xfrm>
        </p:grpSpPr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8E071A0F-BF85-C659-0359-2FBA57F3EE29}"/>
                </a:ext>
              </a:extLst>
            </p:cNvPr>
            <p:cNvGrpSpPr/>
            <p:nvPr/>
          </p:nvGrpSpPr>
          <p:grpSpPr>
            <a:xfrm>
              <a:off x="2648707" y="6435587"/>
              <a:ext cx="360000" cy="216000"/>
              <a:chOff x="1834931" y="5649539"/>
              <a:chExt cx="596172" cy="383537"/>
            </a:xfrm>
          </p:grpSpPr>
          <p:sp>
            <p:nvSpPr>
              <p:cNvPr id="398" name="Rectangle: Rounded Corners 397">
                <a:extLst>
                  <a:ext uri="{FF2B5EF4-FFF2-40B4-BE49-F238E27FC236}">
                    <a16:creationId xmlns:a16="http://schemas.microsoft.com/office/drawing/2014/main" id="{88098247-8874-0D8C-57B8-C8149B7B81D2}"/>
                  </a:ext>
                </a:extLst>
              </p:cNvPr>
              <p:cNvSpPr/>
              <p:nvPr/>
            </p:nvSpPr>
            <p:spPr>
              <a:xfrm>
                <a:off x="1834931" y="5649539"/>
                <a:ext cx="596172" cy="378371"/>
              </a:xfrm>
              <a:prstGeom prst="roundRect">
                <a:avLst/>
              </a:prstGeom>
              <a:solidFill>
                <a:srgbClr val="EEEEEE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99" name="Picture 398">
                <a:extLst>
                  <a:ext uri="{FF2B5EF4-FFF2-40B4-BE49-F238E27FC236}">
                    <a16:creationId xmlns:a16="http://schemas.microsoft.com/office/drawing/2014/main" id="{36CAB75D-E98E-0013-8E33-3A5A401715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85265" y="5654705"/>
                <a:ext cx="504107" cy="378371"/>
              </a:xfrm>
              <a:prstGeom prst="rect">
                <a:avLst/>
              </a:prstGeom>
            </p:spPr>
          </p:pic>
        </p:grp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7B65798B-EF7B-B2C4-A79A-5696AAB29034}"/>
                </a:ext>
              </a:extLst>
            </p:cNvPr>
            <p:cNvSpPr txBox="1"/>
            <p:nvPr/>
          </p:nvSpPr>
          <p:spPr>
            <a:xfrm>
              <a:off x="2876500" y="6401937"/>
              <a:ext cx="2292921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error/retry alert to discord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18EE8EAF-ABBA-597D-B5B8-ED9444F0FB5B}"/>
              </a:ext>
            </a:extLst>
          </p:cNvPr>
          <p:cNvGrpSpPr/>
          <p:nvPr/>
        </p:nvGrpSpPr>
        <p:grpSpPr>
          <a:xfrm>
            <a:off x="3974480" y="6483878"/>
            <a:ext cx="1717312" cy="246221"/>
            <a:chOff x="4873325" y="6463091"/>
            <a:chExt cx="1889394" cy="270893"/>
          </a:xfrm>
        </p:grpSpPr>
        <p:sp>
          <p:nvSpPr>
            <p:cNvPr id="419" name="Rectangle: Rounded Corners 418">
              <a:extLst>
                <a:ext uri="{FF2B5EF4-FFF2-40B4-BE49-F238E27FC236}">
                  <a16:creationId xmlns:a16="http://schemas.microsoft.com/office/drawing/2014/main" id="{49060C70-242E-F732-F6DC-2B81FC07B98D}"/>
                </a:ext>
              </a:extLst>
            </p:cNvPr>
            <p:cNvSpPr/>
            <p:nvPr/>
          </p:nvSpPr>
          <p:spPr>
            <a:xfrm>
              <a:off x="4873325" y="6491993"/>
              <a:ext cx="353902" cy="208705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2552E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AAF86483-7B51-4C46-618F-DD2E5A194F89}"/>
                </a:ext>
              </a:extLst>
            </p:cNvPr>
            <p:cNvSpPr txBox="1"/>
            <p:nvPr/>
          </p:nvSpPr>
          <p:spPr>
            <a:xfrm>
              <a:off x="5149553" y="6463091"/>
              <a:ext cx="1613166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t process in a task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72BC1CC-2E30-FA09-E1CA-F06D37A13E07}"/>
              </a:ext>
            </a:extLst>
          </p:cNvPr>
          <p:cNvSpPr/>
          <p:nvPr/>
        </p:nvSpPr>
        <p:spPr>
          <a:xfrm>
            <a:off x="7657432" y="1457363"/>
            <a:ext cx="390284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3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l DF from XCOM and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sert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Q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DAC8A8F-E500-4008-00C6-09478918E735}"/>
              </a:ext>
            </a:extLst>
          </p:cNvPr>
          <p:cNvCxnSpPr>
            <a:cxnSpLocks/>
          </p:cNvCxnSpPr>
          <p:nvPr/>
        </p:nvCxnSpPr>
        <p:spPr>
          <a:xfrm>
            <a:off x="7800469" y="1795127"/>
            <a:ext cx="3950658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6BF11E76-1414-73B3-0CD0-8D78CD75BDA6}"/>
              </a:ext>
            </a:extLst>
          </p:cNvPr>
          <p:cNvSpPr/>
          <p:nvPr/>
        </p:nvSpPr>
        <p:spPr>
          <a:xfrm>
            <a:off x="403292" y="2084727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6781767-9D55-4459-E617-711D311F9B48}"/>
              </a:ext>
            </a:extLst>
          </p:cNvPr>
          <p:cNvSpPr/>
          <p:nvPr/>
        </p:nvSpPr>
        <p:spPr>
          <a:xfrm>
            <a:off x="2194360" y="2084731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 table existence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A8837B3E-A4AE-50E9-5E75-771A6886DD72}"/>
              </a:ext>
            </a:extLst>
          </p:cNvPr>
          <p:cNvSpPr/>
          <p:nvPr/>
        </p:nvSpPr>
        <p:spPr>
          <a:xfrm>
            <a:off x="1994893" y="2897945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exist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AEFD7318-0B71-D192-3EA0-E2C61EC22485}"/>
              </a:ext>
            </a:extLst>
          </p:cNvPr>
          <p:cNvSpPr/>
          <p:nvPr/>
        </p:nvSpPr>
        <p:spPr>
          <a:xfrm>
            <a:off x="289723" y="2962324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 schema from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s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5E8BCC2-B552-E0C8-4C4F-A216CEE39E2E}"/>
              </a:ext>
            </a:extLst>
          </p:cNvPr>
          <p:cNvSpPr/>
          <p:nvPr/>
        </p:nvSpPr>
        <p:spPr>
          <a:xfrm>
            <a:off x="289723" y="3900908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 schema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DBCEFD7A-A3FE-1695-048A-EE9150DBB654}"/>
              </a:ext>
            </a:extLst>
          </p:cNvPr>
          <p:cNvSpPr/>
          <p:nvPr/>
        </p:nvSpPr>
        <p:spPr>
          <a:xfrm>
            <a:off x="1955457" y="382326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partition fiel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1185C3A-41EC-B8BF-5CC6-D6D9E6E6B66C}"/>
              </a:ext>
            </a:extLst>
          </p:cNvPr>
          <p:cNvSpPr/>
          <p:nvPr/>
        </p:nvSpPr>
        <p:spPr>
          <a:xfrm>
            <a:off x="289723" y="4790247"/>
            <a:ext cx="1077957" cy="754600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partition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Q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191EABC-1D05-FE67-71F2-E50E82BCB753}"/>
              </a:ext>
            </a:extLst>
          </p:cNvPr>
          <p:cNvSpPr/>
          <p:nvPr/>
        </p:nvSpPr>
        <p:spPr>
          <a:xfrm>
            <a:off x="2074908" y="4790247"/>
            <a:ext cx="1282004" cy="511425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partition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Q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4BBAB56-368C-340B-A09B-D6CAAF647AAB}"/>
              </a:ext>
            </a:extLst>
          </p:cNvPr>
          <p:cNvSpPr/>
          <p:nvPr/>
        </p:nvSpPr>
        <p:spPr>
          <a:xfrm>
            <a:off x="2079900" y="5668150"/>
            <a:ext cx="1273477" cy="51142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d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A3D9ABB-F927-D375-D122-C4F2D3BC17FF}"/>
              </a:ext>
            </a:extLst>
          </p:cNvPr>
          <p:cNvCxnSpPr>
            <a:cxnSpLocks/>
            <a:stCxn id="28" idx="6"/>
            <a:endCxn id="29" idx="1"/>
          </p:cNvCxnSpPr>
          <p:nvPr/>
        </p:nvCxnSpPr>
        <p:spPr>
          <a:xfrm flipV="1">
            <a:off x="1368023" y="2294747"/>
            <a:ext cx="826337" cy="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0" name="Straight Arrow Connector 309">
            <a:extLst>
              <a:ext uri="{FF2B5EF4-FFF2-40B4-BE49-F238E27FC236}">
                <a16:creationId xmlns:a16="http://schemas.microsoft.com/office/drawing/2014/main" id="{9F14CCDC-8955-11A5-16D9-BAAD59C2B218}"/>
              </a:ext>
            </a:extLst>
          </p:cNvPr>
          <p:cNvCxnSpPr>
            <a:cxnSpLocks/>
            <a:stCxn id="44" idx="3"/>
            <a:endCxn id="87" idx="1"/>
          </p:cNvCxnSpPr>
          <p:nvPr/>
        </p:nvCxnSpPr>
        <p:spPr>
          <a:xfrm flipV="1">
            <a:off x="3353377" y="2309294"/>
            <a:ext cx="961073" cy="3614569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DD21DDC-596F-2088-66A0-7DE019C0EEA9}"/>
              </a:ext>
            </a:extLst>
          </p:cNvPr>
          <p:cNvCxnSpPr>
            <a:cxnSpLocks/>
            <a:stCxn id="29" idx="2"/>
            <a:endCxn id="35" idx="0"/>
          </p:cNvCxnSpPr>
          <p:nvPr/>
        </p:nvCxnSpPr>
        <p:spPr>
          <a:xfrm>
            <a:off x="2733339" y="2504763"/>
            <a:ext cx="4580" cy="39318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464AEE2-C833-8A39-C0F5-9A8D180AA6ED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 flipV="1">
            <a:off x="1367680" y="3172340"/>
            <a:ext cx="627213" cy="1326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C92DC42-9D34-42F9-CFF2-8573FC8B94C4}"/>
              </a:ext>
            </a:extLst>
          </p:cNvPr>
          <p:cNvCxnSpPr>
            <a:cxnSpLocks/>
            <a:stCxn id="36" idx="2"/>
            <a:endCxn id="37" idx="0"/>
          </p:cNvCxnSpPr>
          <p:nvPr/>
        </p:nvCxnSpPr>
        <p:spPr>
          <a:xfrm>
            <a:off x="828702" y="3382356"/>
            <a:ext cx="0" cy="51855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E6521BD1-EC6E-0D7A-A108-E4773CBB069E}"/>
              </a:ext>
            </a:extLst>
          </p:cNvPr>
          <p:cNvCxnSpPr>
            <a:cxnSpLocks/>
            <a:stCxn id="37" idx="3"/>
            <a:endCxn id="40" idx="1"/>
          </p:cNvCxnSpPr>
          <p:nvPr/>
        </p:nvCxnSpPr>
        <p:spPr>
          <a:xfrm>
            <a:off x="1367680" y="4110924"/>
            <a:ext cx="587777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8" name="Straight Arrow Connector 309">
            <a:extLst>
              <a:ext uri="{FF2B5EF4-FFF2-40B4-BE49-F238E27FC236}">
                <a16:creationId xmlns:a16="http://schemas.microsoft.com/office/drawing/2014/main" id="{CBE64F10-CCAA-E6CF-096D-DA8A8746ED35}"/>
              </a:ext>
            </a:extLst>
          </p:cNvPr>
          <p:cNvCxnSpPr>
            <a:cxnSpLocks/>
            <a:stCxn id="40" idx="2"/>
            <a:endCxn id="41" idx="0"/>
          </p:cNvCxnSpPr>
          <p:nvPr/>
        </p:nvCxnSpPr>
        <p:spPr>
          <a:xfrm rot="5400000">
            <a:off x="1567761" y="3659525"/>
            <a:ext cx="391664" cy="1869781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309">
            <a:extLst>
              <a:ext uri="{FF2B5EF4-FFF2-40B4-BE49-F238E27FC236}">
                <a16:creationId xmlns:a16="http://schemas.microsoft.com/office/drawing/2014/main" id="{9F9EFF4E-5957-D14B-F3F6-E7EAB1F1CBC7}"/>
              </a:ext>
            </a:extLst>
          </p:cNvPr>
          <p:cNvCxnSpPr>
            <a:cxnSpLocks/>
            <a:stCxn id="40" idx="3"/>
            <a:endCxn id="43" idx="3"/>
          </p:cNvCxnSpPr>
          <p:nvPr/>
        </p:nvCxnSpPr>
        <p:spPr>
          <a:xfrm flipH="1">
            <a:off x="3356912" y="4110925"/>
            <a:ext cx="84596" cy="935035"/>
          </a:xfrm>
          <a:prstGeom prst="bentConnector3">
            <a:avLst>
              <a:gd name="adj1" fmla="val -270226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309">
            <a:extLst>
              <a:ext uri="{FF2B5EF4-FFF2-40B4-BE49-F238E27FC236}">
                <a16:creationId xmlns:a16="http://schemas.microsoft.com/office/drawing/2014/main" id="{675CFD16-E14E-8886-EF3B-A1AFA9E947A8}"/>
              </a:ext>
            </a:extLst>
          </p:cNvPr>
          <p:cNvCxnSpPr>
            <a:cxnSpLocks/>
            <a:stCxn id="41" idx="2"/>
            <a:endCxn id="44" idx="1"/>
          </p:cNvCxnSpPr>
          <p:nvPr/>
        </p:nvCxnSpPr>
        <p:spPr>
          <a:xfrm rot="16200000" flipH="1">
            <a:off x="1264793" y="5108756"/>
            <a:ext cx="379016" cy="1251198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B97C76F4-5AE1-8275-469E-16FD151E6B9B}"/>
              </a:ext>
            </a:extLst>
          </p:cNvPr>
          <p:cNvCxnSpPr>
            <a:cxnSpLocks/>
            <a:stCxn id="43" idx="2"/>
            <a:endCxn id="44" idx="0"/>
          </p:cNvCxnSpPr>
          <p:nvPr/>
        </p:nvCxnSpPr>
        <p:spPr>
          <a:xfrm>
            <a:off x="2715910" y="5301672"/>
            <a:ext cx="729" cy="366478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82123F09-7250-AAD7-778B-FF892A30B1D6}"/>
              </a:ext>
            </a:extLst>
          </p:cNvPr>
          <p:cNvSpPr/>
          <p:nvPr/>
        </p:nvSpPr>
        <p:spPr>
          <a:xfrm>
            <a:off x="1700881" y="4457443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D558D73-7D33-0E24-6D94-21709B4C6BBE}"/>
              </a:ext>
            </a:extLst>
          </p:cNvPr>
          <p:cNvSpPr/>
          <p:nvPr/>
        </p:nvSpPr>
        <p:spPr>
          <a:xfrm>
            <a:off x="1638357" y="3034854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E8CC0F7-0ECB-D553-4819-7E4FF688F37E}"/>
              </a:ext>
            </a:extLst>
          </p:cNvPr>
          <p:cNvSpPr/>
          <p:nvPr/>
        </p:nvSpPr>
        <p:spPr>
          <a:xfrm>
            <a:off x="3550776" y="4453722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89EEE000-7408-A359-708C-66E1C380826B}"/>
              </a:ext>
            </a:extLst>
          </p:cNvPr>
          <p:cNvSpPr/>
          <p:nvPr/>
        </p:nvSpPr>
        <p:spPr>
          <a:xfrm>
            <a:off x="4314450" y="2099278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data from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les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9" name="Straight Arrow Connector 309">
            <a:extLst>
              <a:ext uri="{FF2B5EF4-FFF2-40B4-BE49-F238E27FC236}">
                <a16:creationId xmlns:a16="http://schemas.microsoft.com/office/drawing/2014/main" id="{9C8DD10F-3059-83BF-7BB6-A8E265994B73}"/>
              </a:ext>
            </a:extLst>
          </p:cNvPr>
          <p:cNvCxnSpPr>
            <a:cxnSpLocks/>
            <a:stCxn id="35" idx="3"/>
            <a:endCxn id="87" idx="1"/>
          </p:cNvCxnSpPr>
          <p:nvPr/>
        </p:nvCxnSpPr>
        <p:spPr>
          <a:xfrm flipV="1">
            <a:off x="3480944" y="2309294"/>
            <a:ext cx="833506" cy="876310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7" name="Diamond 96">
            <a:extLst>
              <a:ext uri="{FF2B5EF4-FFF2-40B4-BE49-F238E27FC236}">
                <a16:creationId xmlns:a16="http://schemas.microsoft.com/office/drawing/2014/main" id="{962F5FDF-8C11-3B3E-48BF-2C74A9386D79}"/>
              </a:ext>
            </a:extLst>
          </p:cNvPr>
          <p:cNvSpPr/>
          <p:nvPr/>
        </p:nvSpPr>
        <p:spPr>
          <a:xfrm>
            <a:off x="5920999" y="202163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incremental col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7BECE683-DED0-93AB-1FCC-870702EEC5DF}"/>
              </a:ext>
            </a:extLst>
          </p:cNvPr>
          <p:cNvSpPr/>
          <p:nvPr/>
        </p:nvSpPr>
        <p:spPr>
          <a:xfrm>
            <a:off x="4314450" y="3061452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only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1 data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2E2AAD50-4462-4F67-8AD9-27B92B082556}"/>
              </a:ext>
            </a:extLst>
          </p:cNvPr>
          <p:cNvSpPr/>
          <p:nvPr/>
        </p:nvSpPr>
        <p:spPr>
          <a:xfrm>
            <a:off x="6073080" y="3061452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</a:p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ELECT  *)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884B1A1D-11F6-1F16-5CC9-18EF317FCA62}"/>
              </a:ext>
            </a:extLst>
          </p:cNvPr>
          <p:cNvSpPr/>
          <p:nvPr/>
        </p:nvSpPr>
        <p:spPr>
          <a:xfrm>
            <a:off x="4314450" y="3887645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F)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Diamond 107">
            <a:extLst>
              <a:ext uri="{FF2B5EF4-FFF2-40B4-BE49-F238E27FC236}">
                <a16:creationId xmlns:a16="http://schemas.microsoft.com/office/drawing/2014/main" id="{F37A67E0-CC0C-1AAB-85E2-8C126DC9070A}"/>
              </a:ext>
            </a:extLst>
          </p:cNvPr>
          <p:cNvSpPr/>
          <p:nvPr/>
        </p:nvSpPr>
        <p:spPr>
          <a:xfrm>
            <a:off x="5920999" y="382326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 NONE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B08EE2F-E2B8-BDCF-266A-DAD540E96A29}"/>
              </a:ext>
            </a:extLst>
          </p:cNvPr>
          <p:cNvGrpSpPr/>
          <p:nvPr/>
        </p:nvGrpSpPr>
        <p:grpSpPr>
          <a:xfrm>
            <a:off x="6986184" y="4438825"/>
            <a:ext cx="509191" cy="327579"/>
            <a:chOff x="1834931" y="5649539"/>
            <a:chExt cx="596172" cy="383537"/>
          </a:xfrm>
        </p:grpSpPr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BAD6B740-66B6-2352-96EA-95C4EBF8672D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E8B8263A-1AC5-60E7-EA7D-9B93A7B63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113" name="Diamond 112">
            <a:extLst>
              <a:ext uri="{FF2B5EF4-FFF2-40B4-BE49-F238E27FC236}">
                <a16:creationId xmlns:a16="http://schemas.microsoft.com/office/drawing/2014/main" id="{C454F409-F017-BE38-94D2-E52BF971BD8F}"/>
              </a:ext>
            </a:extLst>
          </p:cNvPr>
          <p:cNvSpPr/>
          <p:nvPr/>
        </p:nvSpPr>
        <p:spPr>
          <a:xfrm>
            <a:off x="5920999" y="4802498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 Empty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8516437A-2BB2-E845-F24C-074124570B2F}"/>
              </a:ext>
            </a:extLst>
          </p:cNvPr>
          <p:cNvSpPr/>
          <p:nvPr/>
        </p:nvSpPr>
        <p:spPr>
          <a:xfrm>
            <a:off x="4351098" y="4880140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t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E08BFEBE-4685-F23B-FCD5-4B517CFF7EE6}"/>
              </a:ext>
            </a:extLst>
          </p:cNvPr>
          <p:cNvSpPr/>
          <p:nvPr/>
        </p:nvSpPr>
        <p:spPr>
          <a:xfrm>
            <a:off x="5590197" y="5729435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sh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COM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BCF79089-37D4-F9AC-661F-384E42F19FDA}"/>
              </a:ext>
            </a:extLst>
          </p:cNvPr>
          <p:cNvCxnSpPr>
            <a:cxnSpLocks/>
            <a:stCxn id="87" idx="3"/>
            <a:endCxn id="97" idx="1"/>
          </p:cNvCxnSpPr>
          <p:nvPr/>
        </p:nvCxnSpPr>
        <p:spPr>
          <a:xfrm>
            <a:off x="5540718" y="2309294"/>
            <a:ext cx="380281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4" name="Straight Arrow Connector 309">
            <a:extLst>
              <a:ext uri="{FF2B5EF4-FFF2-40B4-BE49-F238E27FC236}">
                <a16:creationId xmlns:a16="http://schemas.microsoft.com/office/drawing/2014/main" id="{8390F273-CC32-BD53-0E60-C2EBE39188B8}"/>
              </a:ext>
            </a:extLst>
          </p:cNvPr>
          <p:cNvCxnSpPr>
            <a:cxnSpLocks/>
            <a:stCxn id="97" idx="2"/>
            <a:endCxn id="101" idx="0"/>
          </p:cNvCxnSpPr>
          <p:nvPr/>
        </p:nvCxnSpPr>
        <p:spPr>
          <a:xfrm rot="5400000">
            <a:off x="5563556" y="1960982"/>
            <a:ext cx="464499" cy="1736441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9FD43583-33DD-47AB-90CA-66329EC6ED67}"/>
              </a:ext>
            </a:extLst>
          </p:cNvPr>
          <p:cNvCxnSpPr>
            <a:cxnSpLocks/>
            <a:stCxn id="97" idx="2"/>
            <a:endCxn id="105" idx="0"/>
          </p:cNvCxnSpPr>
          <p:nvPr/>
        </p:nvCxnSpPr>
        <p:spPr>
          <a:xfrm>
            <a:off x="6664025" y="2596953"/>
            <a:ext cx="22189" cy="46449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BA3998E4-54F9-25B6-8D6A-58E41E5FE671}"/>
              </a:ext>
            </a:extLst>
          </p:cNvPr>
          <p:cNvCxnSpPr>
            <a:cxnSpLocks/>
            <a:stCxn id="101" idx="2"/>
            <a:endCxn id="106" idx="0"/>
          </p:cNvCxnSpPr>
          <p:nvPr/>
        </p:nvCxnSpPr>
        <p:spPr>
          <a:xfrm>
            <a:off x="4927584" y="3481484"/>
            <a:ext cx="0" cy="40616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5" name="Straight Arrow Connector 309">
            <a:extLst>
              <a:ext uri="{FF2B5EF4-FFF2-40B4-BE49-F238E27FC236}">
                <a16:creationId xmlns:a16="http://schemas.microsoft.com/office/drawing/2014/main" id="{5D0B1AC9-BA96-3196-3B1B-9E6B712D84FD}"/>
              </a:ext>
            </a:extLst>
          </p:cNvPr>
          <p:cNvCxnSpPr>
            <a:cxnSpLocks/>
            <a:stCxn id="105" idx="2"/>
            <a:endCxn id="106" idx="0"/>
          </p:cNvCxnSpPr>
          <p:nvPr/>
        </p:nvCxnSpPr>
        <p:spPr>
          <a:xfrm rot="5400000">
            <a:off x="5603819" y="2805249"/>
            <a:ext cx="406161" cy="1758630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58DAEF87-16F5-EA7E-1AB9-D52DA037470A}"/>
              </a:ext>
            </a:extLst>
          </p:cNvPr>
          <p:cNvCxnSpPr>
            <a:cxnSpLocks/>
            <a:stCxn id="106" idx="3"/>
            <a:endCxn id="108" idx="1"/>
          </p:cNvCxnSpPr>
          <p:nvPr/>
        </p:nvCxnSpPr>
        <p:spPr>
          <a:xfrm>
            <a:off x="5540718" y="4097661"/>
            <a:ext cx="380281" cy="1326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5" name="Straight Arrow Connector 309">
            <a:extLst>
              <a:ext uri="{FF2B5EF4-FFF2-40B4-BE49-F238E27FC236}">
                <a16:creationId xmlns:a16="http://schemas.microsoft.com/office/drawing/2014/main" id="{42A6D4EA-4469-63BE-EA51-B4E55102B9F0}"/>
              </a:ext>
            </a:extLst>
          </p:cNvPr>
          <p:cNvCxnSpPr>
            <a:cxnSpLocks/>
            <a:stCxn id="108" idx="3"/>
            <a:endCxn id="112" idx="3"/>
          </p:cNvCxnSpPr>
          <p:nvPr/>
        </p:nvCxnSpPr>
        <p:spPr>
          <a:xfrm>
            <a:off x="7407050" y="4110925"/>
            <a:ext cx="52682" cy="493896"/>
          </a:xfrm>
          <a:prstGeom prst="bentConnector3">
            <a:avLst>
              <a:gd name="adj1" fmla="val 533924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2059FB42-376C-751E-E1BC-A1B861CA30E7}"/>
              </a:ext>
            </a:extLst>
          </p:cNvPr>
          <p:cNvCxnSpPr>
            <a:cxnSpLocks/>
            <a:stCxn id="108" idx="2"/>
            <a:endCxn id="113" idx="0"/>
          </p:cNvCxnSpPr>
          <p:nvPr/>
        </p:nvCxnSpPr>
        <p:spPr>
          <a:xfrm>
            <a:off x="6664025" y="4398583"/>
            <a:ext cx="0" cy="403915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CF3C0E21-778E-3D63-0FD4-3E0F972C5EB1}"/>
              </a:ext>
            </a:extLst>
          </p:cNvPr>
          <p:cNvCxnSpPr>
            <a:cxnSpLocks/>
            <a:stCxn id="113" idx="1"/>
            <a:endCxn id="114" idx="3"/>
          </p:cNvCxnSpPr>
          <p:nvPr/>
        </p:nvCxnSpPr>
        <p:spPr>
          <a:xfrm flipH="1" flipV="1">
            <a:off x="5577366" y="5090156"/>
            <a:ext cx="343633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6" name="Straight Arrow Connector 309">
            <a:extLst>
              <a:ext uri="{FF2B5EF4-FFF2-40B4-BE49-F238E27FC236}">
                <a16:creationId xmlns:a16="http://schemas.microsoft.com/office/drawing/2014/main" id="{A9B7E2FB-9DC3-7213-4512-DD407C31D862}"/>
              </a:ext>
            </a:extLst>
          </p:cNvPr>
          <p:cNvCxnSpPr>
            <a:cxnSpLocks/>
            <a:stCxn id="114" idx="2"/>
            <a:endCxn id="115" idx="1"/>
          </p:cNvCxnSpPr>
          <p:nvPr/>
        </p:nvCxnSpPr>
        <p:spPr>
          <a:xfrm rot="16200000" flipH="1">
            <a:off x="4957575" y="5306828"/>
            <a:ext cx="639279" cy="625965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2" name="Oval 91">
            <a:extLst>
              <a:ext uri="{FF2B5EF4-FFF2-40B4-BE49-F238E27FC236}">
                <a16:creationId xmlns:a16="http://schemas.microsoft.com/office/drawing/2014/main" id="{18455D02-E5E4-69A1-02D1-0E9555B06FC5}"/>
              </a:ext>
            </a:extLst>
          </p:cNvPr>
          <p:cNvSpPr/>
          <p:nvPr/>
        </p:nvSpPr>
        <p:spPr>
          <a:xfrm>
            <a:off x="5728075" y="2711992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2AAF41DF-6CC8-4402-5E59-88C91ED1A007}"/>
              </a:ext>
            </a:extLst>
          </p:cNvPr>
          <p:cNvSpPr/>
          <p:nvPr/>
        </p:nvSpPr>
        <p:spPr>
          <a:xfrm>
            <a:off x="6558038" y="2672536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5363AAFF-DE03-AD5E-4D53-58A9D4025F55}"/>
              </a:ext>
            </a:extLst>
          </p:cNvPr>
          <p:cNvSpPr/>
          <p:nvPr/>
        </p:nvSpPr>
        <p:spPr>
          <a:xfrm>
            <a:off x="7555382" y="4235329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67B5F7C5-5ADE-D935-399A-78FDF5DED27E}"/>
              </a:ext>
            </a:extLst>
          </p:cNvPr>
          <p:cNvSpPr/>
          <p:nvPr/>
        </p:nvSpPr>
        <p:spPr>
          <a:xfrm>
            <a:off x="6548830" y="4453722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Rectangle: Rounded Corners 174">
            <a:extLst>
              <a:ext uri="{FF2B5EF4-FFF2-40B4-BE49-F238E27FC236}">
                <a16:creationId xmlns:a16="http://schemas.microsoft.com/office/drawing/2014/main" id="{39E5D43F-90A2-CC32-82C0-5A62DFA39CEF}"/>
              </a:ext>
            </a:extLst>
          </p:cNvPr>
          <p:cNvSpPr/>
          <p:nvPr/>
        </p:nvSpPr>
        <p:spPr>
          <a:xfrm>
            <a:off x="8224262" y="2053184"/>
            <a:ext cx="1226268" cy="512221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l attempt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 XCOM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Diamond 178">
            <a:extLst>
              <a:ext uri="{FF2B5EF4-FFF2-40B4-BE49-F238E27FC236}">
                <a16:creationId xmlns:a16="http://schemas.microsoft.com/office/drawing/2014/main" id="{820C7A1F-39DA-1283-F025-ADE93AE22EE8}"/>
              </a:ext>
            </a:extLst>
          </p:cNvPr>
          <p:cNvSpPr/>
          <p:nvPr/>
        </p:nvSpPr>
        <p:spPr>
          <a:xfrm>
            <a:off x="9828494" y="202163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9702598C-6A72-87CB-7C52-C6DF03A46CAC}"/>
              </a:ext>
            </a:extLst>
          </p:cNvPr>
          <p:cNvGrpSpPr/>
          <p:nvPr/>
        </p:nvGrpSpPr>
        <p:grpSpPr>
          <a:xfrm>
            <a:off x="11274832" y="2624248"/>
            <a:ext cx="509191" cy="327579"/>
            <a:chOff x="1834931" y="5649539"/>
            <a:chExt cx="596172" cy="383537"/>
          </a:xfrm>
        </p:grpSpPr>
        <p:sp>
          <p:nvSpPr>
            <p:cNvPr id="182" name="Rectangle: Rounded Corners 181">
              <a:extLst>
                <a:ext uri="{FF2B5EF4-FFF2-40B4-BE49-F238E27FC236}">
                  <a16:creationId xmlns:a16="http://schemas.microsoft.com/office/drawing/2014/main" id="{D5CF8FB8-5EF5-E19D-3393-2D49B0854F6F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53456127-6EA8-C81C-E017-2A85723AA2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89FD2B07-4FF0-30D5-E980-5C79AA9C3F8E}"/>
              </a:ext>
            </a:extLst>
          </p:cNvPr>
          <p:cNvSpPr/>
          <p:nvPr/>
        </p:nvSpPr>
        <p:spPr>
          <a:xfrm>
            <a:off x="9958385" y="3125313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riev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9A910769-5778-93E3-6FCE-4CC0D74CAE14}"/>
              </a:ext>
            </a:extLst>
          </p:cNvPr>
          <p:cNvSpPr/>
          <p:nvPr/>
        </p:nvSpPr>
        <p:spPr>
          <a:xfrm>
            <a:off x="8221944" y="3125313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t back 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12DFC0CC-FAC0-0748-C2AF-B50A491E3CCD}"/>
              </a:ext>
            </a:extLst>
          </p:cNvPr>
          <p:cNvSpPr/>
          <p:nvPr/>
        </p:nvSpPr>
        <p:spPr>
          <a:xfrm>
            <a:off x="8221944" y="3973778"/>
            <a:ext cx="1226268" cy="57531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d data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rar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Rectangle: Rounded Corners 190">
            <a:extLst>
              <a:ext uri="{FF2B5EF4-FFF2-40B4-BE49-F238E27FC236}">
                <a16:creationId xmlns:a16="http://schemas.microsoft.com/office/drawing/2014/main" id="{2C96E413-60A4-CAE9-E7BC-60DB14B1F9E9}"/>
              </a:ext>
            </a:extLst>
          </p:cNvPr>
          <p:cNvSpPr/>
          <p:nvPr/>
        </p:nvSpPr>
        <p:spPr>
          <a:xfrm>
            <a:off x="9958385" y="3973778"/>
            <a:ext cx="1226268" cy="57531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g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th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Rectangle: Rounded Corners 191">
            <a:extLst>
              <a:ext uri="{FF2B5EF4-FFF2-40B4-BE49-F238E27FC236}">
                <a16:creationId xmlns:a16="http://schemas.microsoft.com/office/drawing/2014/main" id="{F36A97C8-1D0D-E4E8-B856-23F2C5BCC32B}"/>
              </a:ext>
            </a:extLst>
          </p:cNvPr>
          <p:cNvSpPr/>
          <p:nvPr/>
        </p:nvSpPr>
        <p:spPr>
          <a:xfrm>
            <a:off x="9958385" y="4969531"/>
            <a:ext cx="1226268" cy="57531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staging/temporary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A0519420-5F28-A946-73BD-4990846E6073}"/>
              </a:ext>
            </a:extLst>
          </p:cNvPr>
          <p:cNvCxnSpPr>
            <a:cxnSpLocks/>
            <a:stCxn id="175" idx="3"/>
            <a:endCxn id="179" idx="1"/>
          </p:cNvCxnSpPr>
          <p:nvPr/>
        </p:nvCxnSpPr>
        <p:spPr>
          <a:xfrm>
            <a:off x="9450530" y="2309295"/>
            <a:ext cx="377964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048BC48B-11D9-78E4-641A-68F4CD1A36D6}"/>
              </a:ext>
            </a:extLst>
          </p:cNvPr>
          <p:cNvCxnSpPr>
            <a:cxnSpLocks/>
          </p:cNvCxnSpPr>
          <p:nvPr/>
        </p:nvCxnSpPr>
        <p:spPr>
          <a:xfrm flipH="1">
            <a:off x="10560425" y="2596953"/>
            <a:ext cx="1" cy="52836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4" name="Straight Arrow Connector 309">
            <a:extLst>
              <a:ext uri="{FF2B5EF4-FFF2-40B4-BE49-F238E27FC236}">
                <a16:creationId xmlns:a16="http://schemas.microsoft.com/office/drawing/2014/main" id="{72BFC4F0-C971-1F3B-4C69-2EC3E4A49F27}"/>
              </a:ext>
            </a:extLst>
          </p:cNvPr>
          <p:cNvCxnSpPr>
            <a:cxnSpLocks/>
            <a:stCxn id="179" idx="3"/>
            <a:endCxn id="183" idx="0"/>
          </p:cNvCxnSpPr>
          <p:nvPr/>
        </p:nvCxnSpPr>
        <p:spPr>
          <a:xfrm>
            <a:off x="11314545" y="2309295"/>
            <a:ext cx="218556" cy="319365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6E2F94C3-B412-19D5-F020-ACDB52275697}"/>
              </a:ext>
            </a:extLst>
          </p:cNvPr>
          <p:cNvCxnSpPr>
            <a:cxnSpLocks/>
            <a:stCxn id="184" idx="1"/>
            <a:endCxn id="185" idx="3"/>
          </p:cNvCxnSpPr>
          <p:nvPr/>
        </p:nvCxnSpPr>
        <p:spPr>
          <a:xfrm flipH="1">
            <a:off x="9448212" y="3335329"/>
            <a:ext cx="510173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A33F4609-9751-B0B2-CE9D-A36426580187}"/>
              </a:ext>
            </a:extLst>
          </p:cNvPr>
          <p:cNvCxnSpPr>
            <a:cxnSpLocks/>
            <a:stCxn id="185" idx="2"/>
            <a:endCxn id="190" idx="0"/>
          </p:cNvCxnSpPr>
          <p:nvPr/>
        </p:nvCxnSpPr>
        <p:spPr>
          <a:xfrm>
            <a:off x="8835078" y="3545345"/>
            <a:ext cx="0" cy="42843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4" name="Straight Arrow Connector 213">
            <a:extLst>
              <a:ext uri="{FF2B5EF4-FFF2-40B4-BE49-F238E27FC236}">
                <a16:creationId xmlns:a16="http://schemas.microsoft.com/office/drawing/2014/main" id="{1B62FE89-1D10-EF2A-934C-37B30118300C}"/>
              </a:ext>
            </a:extLst>
          </p:cNvPr>
          <p:cNvCxnSpPr>
            <a:cxnSpLocks/>
            <a:stCxn id="190" idx="3"/>
            <a:endCxn id="191" idx="1"/>
          </p:cNvCxnSpPr>
          <p:nvPr/>
        </p:nvCxnSpPr>
        <p:spPr>
          <a:xfrm>
            <a:off x="9448212" y="4261436"/>
            <a:ext cx="510173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FD2B9C6B-07A5-73BA-7BEF-B85D83D84182}"/>
              </a:ext>
            </a:extLst>
          </p:cNvPr>
          <p:cNvCxnSpPr>
            <a:cxnSpLocks/>
          </p:cNvCxnSpPr>
          <p:nvPr/>
        </p:nvCxnSpPr>
        <p:spPr>
          <a:xfrm>
            <a:off x="10571519" y="4549094"/>
            <a:ext cx="0" cy="42043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0" name="Oval 219">
            <a:extLst>
              <a:ext uri="{FF2B5EF4-FFF2-40B4-BE49-F238E27FC236}">
                <a16:creationId xmlns:a16="http://schemas.microsoft.com/office/drawing/2014/main" id="{3B3E761B-95A0-F396-A0CF-C4C982A35A5E}"/>
              </a:ext>
            </a:extLst>
          </p:cNvPr>
          <p:cNvSpPr/>
          <p:nvPr/>
        </p:nvSpPr>
        <p:spPr>
          <a:xfrm>
            <a:off x="10089154" y="5864299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1" name="Straight Arrow Connector 220">
            <a:extLst>
              <a:ext uri="{FF2B5EF4-FFF2-40B4-BE49-F238E27FC236}">
                <a16:creationId xmlns:a16="http://schemas.microsoft.com/office/drawing/2014/main" id="{8E4A85A7-4B1B-1573-2F4F-F6D97A05CF70}"/>
              </a:ext>
            </a:extLst>
          </p:cNvPr>
          <p:cNvCxnSpPr>
            <a:cxnSpLocks/>
          </p:cNvCxnSpPr>
          <p:nvPr/>
        </p:nvCxnSpPr>
        <p:spPr>
          <a:xfrm>
            <a:off x="10560351" y="5544847"/>
            <a:ext cx="1" cy="31945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8" name="Oval 227">
            <a:extLst>
              <a:ext uri="{FF2B5EF4-FFF2-40B4-BE49-F238E27FC236}">
                <a16:creationId xmlns:a16="http://schemas.microsoft.com/office/drawing/2014/main" id="{161F3443-76E6-EB2E-E517-FD2EBFC7B3BC}"/>
              </a:ext>
            </a:extLst>
          </p:cNvPr>
          <p:cNvSpPr/>
          <p:nvPr/>
        </p:nvSpPr>
        <p:spPr>
          <a:xfrm>
            <a:off x="11607650" y="2300738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936DD87D-77D3-6C3E-3B58-2C65E3BDF36E}"/>
              </a:ext>
            </a:extLst>
          </p:cNvPr>
          <p:cNvSpPr/>
          <p:nvPr/>
        </p:nvSpPr>
        <p:spPr>
          <a:xfrm>
            <a:off x="10448976" y="2703116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4043DBE2-7580-37F5-CDDD-CA0A696584D0}"/>
              </a:ext>
            </a:extLst>
          </p:cNvPr>
          <p:cNvSpPr/>
          <p:nvPr/>
        </p:nvSpPr>
        <p:spPr>
          <a:xfrm>
            <a:off x="3726886" y="2663145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6" name="Straight Arrow Connector 309">
            <a:extLst>
              <a:ext uri="{FF2B5EF4-FFF2-40B4-BE49-F238E27FC236}">
                <a16:creationId xmlns:a16="http://schemas.microsoft.com/office/drawing/2014/main" id="{FDE0EB1B-0BB8-2BC0-818B-43F796ED13BB}"/>
              </a:ext>
            </a:extLst>
          </p:cNvPr>
          <p:cNvCxnSpPr>
            <a:cxnSpLocks/>
            <a:stCxn id="115" idx="3"/>
            <a:endCxn id="175" idx="1"/>
          </p:cNvCxnSpPr>
          <p:nvPr/>
        </p:nvCxnSpPr>
        <p:spPr>
          <a:xfrm flipV="1">
            <a:off x="6816465" y="2309295"/>
            <a:ext cx="1407797" cy="3630156"/>
          </a:xfrm>
          <a:prstGeom prst="bentConnector3">
            <a:avLst>
              <a:gd name="adj1" fmla="val 93958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2" name="Oval 291">
            <a:extLst>
              <a:ext uri="{FF2B5EF4-FFF2-40B4-BE49-F238E27FC236}">
                <a16:creationId xmlns:a16="http://schemas.microsoft.com/office/drawing/2014/main" id="{7E04630C-D6F0-A91C-04D5-D5CB2175DEE1}"/>
              </a:ext>
            </a:extLst>
          </p:cNvPr>
          <p:cNvSpPr/>
          <p:nvPr/>
        </p:nvSpPr>
        <p:spPr>
          <a:xfrm>
            <a:off x="5652174" y="4967612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3" name="Oval 292">
            <a:extLst>
              <a:ext uri="{FF2B5EF4-FFF2-40B4-BE49-F238E27FC236}">
                <a16:creationId xmlns:a16="http://schemas.microsoft.com/office/drawing/2014/main" id="{3E28CD92-E386-DB30-AD85-FAA152DD77BA}"/>
              </a:ext>
            </a:extLst>
          </p:cNvPr>
          <p:cNvSpPr/>
          <p:nvPr/>
        </p:nvSpPr>
        <p:spPr>
          <a:xfrm>
            <a:off x="7044285" y="528453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p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8" name="Straight Arrow Connector 309">
            <a:extLst>
              <a:ext uri="{FF2B5EF4-FFF2-40B4-BE49-F238E27FC236}">
                <a16:creationId xmlns:a16="http://schemas.microsoft.com/office/drawing/2014/main" id="{41C3E657-40C3-48EB-61F4-44D8D869A00D}"/>
              </a:ext>
            </a:extLst>
          </p:cNvPr>
          <p:cNvCxnSpPr>
            <a:cxnSpLocks/>
            <a:stCxn id="113" idx="3"/>
            <a:endCxn id="293" idx="0"/>
          </p:cNvCxnSpPr>
          <p:nvPr/>
        </p:nvCxnSpPr>
        <p:spPr>
          <a:xfrm>
            <a:off x="7407050" y="5090157"/>
            <a:ext cx="119601" cy="194373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986CA839-07BA-E1D0-0247-F12E24488154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4" name="SlideLogoText">
              <a:extLst>
                <a:ext uri="{FF2B5EF4-FFF2-40B4-BE49-F238E27FC236}">
                  <a16:creationId xmlns:a16="http://schemas.microsoft.com/office/drawing/2014/main" id="{3BDBB7D1-550F-122E-B47E-77D443830395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Slide Number">
              <a:extLst>
                <a:ext uri="{FF2B5EF4-FFF2-40B4-BE49-F238E27FC236}">
                  <a16:creationId xmlns:a16="http://schemas.microsoft.com/office/drawing/2014/main" id="{BC447966-5589-C2A0-EE7C-A8CA15E9ACC8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3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1432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45892B8-BA76-0623-8247-B9A12C3AFF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126117D0-45FC-3329-05F0-444C345D5B04}"/>
              </a:ext>
            </a:extLst>
          </p:cNvPr>
          <p:cNvCxnSpPr>
            <a:cxnSpLocks/>
          </p:cNvCxnSpPr>
          <p:nvPr/>
        </p:nvCxnSpPr>
        <p:spPr>
          <a:xfrm>
            <a:off x="7716406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B1B055B3-92CD-BFB9-386E-7F35DF57AD59}"/>
              </a:ext>
            </a:extLst>
          </p:cNvPr>
          <p:cNvCxnSpPr>
            <a:cxnSpLocks/>
          </p:cNvCxnSpPr>
          <p:nvPr/>
        </p:nvCxnSpPr>
        <p:spPr>
          <a:xfrm>
            <a:off x="4688958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AEC634F-6162-F93E-A928-9FAD1F61B2A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C5942BD-9D29-0D4C-42AF-6A924A9276F0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860BA0B9-5376-EF88-DE80-4C3E1AA3BFE8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DE200CD4-3EF4-AAF4-DB01-F062B9562FF2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33FB0DC-1C14-8F3F-800C-A27EE74FCB53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D5C436F-B4E7-AFE5-ADBC-12CEC611D0BC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2</a:t>
            </a:r>
            <a:r>
              <a:rPr kumimoji="0" lang="en-US" sz="2400" b="1" i="0" strike="noStrike" kern="1200" cap="none" spc="0" normalizeH="0" baseline="3000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nd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Automation logic flow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9B08F68-775A-411B-8A72-E42B90408A57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5142572-EEA1-A0BD-D671-D46452A63D9A}"/>
              </a:ext>
            </a:extLst>
          </p:cNvPr>
          <p:cNvSpPr/>
          <p:nvPr/>
        </p:nvSpPr>
        <p:spPr>
          <a:xfrm rot="16200000">
            <a:off x="5857183" y="-4503912"/>
            <a:ext cx="337762" cy="1145013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899555-A08A-CD79-765A-F2A4A40CF749}"/>
              </a:ext>
            </a:extLst>
          </p:cNvPr>
          <p:cNvSpPr txBox="1"/>
          <p:nvPr/>
        </p:nvSpPr>
        <p:spPr>
          <a:xfrm>
            <a:off x="287907" y="1047566"/>
            <a:ext cx="11272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_NAM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3_dbt_run_dwh.py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OBJECTIV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transformation for raw data to business-level data in DWH</a:t>
            </a:r>
            <a:endParaRPr lang="en-ID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5374C44-93DE-8907-352C-FFA30CBD5796}"/>
              </a:ext>
            </a:extLst>
          </p:cNvPr>
          <p:cNvSpPr/>
          <p:nvPr/>
        </p:nvSpPr>
        <p:spPr>
          <a:xfrm>
            <a:off x="1662824" y="1457363"/>
            <a:ext cx="2893909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1: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run_staging_models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842456F-ECEC-66EF-92E1-02F0A0160926}"/>
              </a:ext>
            </a:extLst>
          </p:cNvPr>
          <p:cNvSpPr/>
          <p:nvPr/>
        </p:nvSpPr>
        <p:spPr>
          <a:xfrm>
            <a:off x="4542669" y="1457363"/>
            <a:ext cx="2826771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2: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run_facts_models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63C067-4CBF-8027-7FEA-D4B7889A6F5B}"/>
              </a:ext>
            </a:extLst>
          </p:cNvPr>
          <p:cNvCxnSpPr>
            <a:cxnSpLocks/>
          </p:cNvCxnSpPr>
          <p:nvPr/>
        </p:nvCxnSpPr>
        <p:spPr>
          <a:xfrm>
            <a:off x="4761218" y="1801366"/>
            <a:ext cx="291415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07547F6C-8C53-A26F-A4E9-64EFD676EAC4}"/>
              </a:ext>
            </a:extLst>
          </p:cNvPr>
          <p:cNvCxnSpPr>
            <a:cxnSpLocks/>
          </p:cNvCxnSpPr>
          <p:nvPr/>
        </p:nvCxnSpPr>
        <p:spPr>
          <a:xfrm>
            <a:off x="1795927" y="1801366"/>
            <a:ext cx="284801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A4F9B5C8-FD47-93FE-D567-20CBCF89A25D}"/>
              </a:ext>
            </a:extLst>
          </p:cNvPr>
          <p:cNvGrpSpPr/>
          <p:nvPr/>
        </p:nvGrpSpPr>
        <p:grpSpPr>
          <a:xfrm>
            <a:off x="367575" y="6495090"/>
            <a:ext cx="866299" cy="223796"/>
            <a:chOff x="234026" y="6426622"/>
            <a:chExt cx="953105" cy="246221"/>
          </a:xfrm>
        </p:grpSpPr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29B4E04D-53E4-D52A-35EB-9FB0CB7489FB}"/>
                </a:ext>
              </a:extLst>
            </p:cNvPr>
            <p:cNvSpPr/>
            <p:nvPr/>
          </p:nvSpPr>
          <p:spPr>
            <a:xfrm>
              <a:off x="306026" y="6449427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endParaRPr lang="en-ID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5E1E4697-15FF-E7AD-2E54-1F9305618ACD}"/>
                </a:ext>
              </a:extLst>
            </p:cNvPr>
            <p:cNvSpPr txBox="1"/>
            <p:nvPr/>
          </p:nvSpPr>
          <p:spPr>
            <a:xfrm>
              <a:off x="234026" y="6426622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4C8DCFF8-972F-BC53-76EA-0B82C933FBC6}"/>
              </a:ext>
            </a:extLst>
          </p:cNvPr>
          <p:cNvGrpSpPr/>
          <p:nvPr/>
        </p:nvGrpSpPr>
        <p:grpSpPr>
          <a:xfrm>
            <a:off x="992587" y="6495090"/>
            <a:ext cx="866299" cy="223796"/>
            <a:chOff x="1261221" y="6411327"/>
            <a:chExt cx="953105" cy="246221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1E4B2159-EDEB-B0B6-ADFA-1AD07381C645}"/>
                </a:ext>
              </a:extLst>
            </p:cNvPr>
            <p:cNvSpPr/>
            <p:nvPr/>
          </p:nvSpPr>
          <p:spPr>
            <a:xfrm>
              <a:off x="1367589" y="6440405"/>
              <a:ext cx="216000" cy="216000"/>
            </a:xfrm>
            <a:prstGeom prst="ellipse">
              <a:avLst/>
            </a:prstGeom>
            <a:solidFill>
              <a:srgbClr val="071F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en-ID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3E1CC2B7-7AEC-99F3-284D-D0597623ED2F}"/>
                </a:ext>
              </a:extLst>
            </p:cNvPr>
            <p:cNvSpPr txBox="1"/>
            <p:nvPr/>
          </p:nvSpPr>
          <p:spPr>
            <a:xfrm>
              <a:off x="1261221" y="6411327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BF16815E-EC58-C03A-FA82-A6050964EBC8}"/>
              </a:ext>
            </a:extLst>
          </p:cNvPr>
          <p:cNvGrpSpPr/>
          <p:nvPr/>
        </p:nvGrpSpPr>
        <p:grpSpPr>
          <a:xfrm>
            <a:off x="1715801" y="6483878"/>
            <a:ext cx="2291133" cy="246221"/>
            <a:chOff x="2648707" y="6401937"/>
            <a:chExt cx="2520714" cy="270893"/>
          </a:xfrm>
        </p:grpSpPr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49EDA10B-5F7F-1A6B-D395-42221E0B0764}"/>
                </a:ext>
              </a:extLst>
            </p:cNvPr>
            <p:cNvGrpSpPr/>
            <p:nvPr/>
          </p:nvGrpSpPr>
          <p:grpSpPr>
            <a:xfrm>
              <a:off x="2648707" y="6435587"/>
              <a:ext cx="360000" cy="216000"/>
              <a:chOff x="1834931" y="5649539"/>
              <a:chExt cx="596172" cy="383537"/>
            </a:xfrm>
          </p:grpSpPr>
          <p:sp>
            <p:nvSpPr>
              <p:cNvPr id="398" name="Rectangle: Rounded Corners 397">
                <a:extLst>
                  <a:ext uri="{FF2B5EF4-FFF2-40B4-BE49-F238E27FC236}">
                    <a16:creationId xmlns:a16="http://schemas.microsoft.com/office/drawing/2014/main" id="{007D7B0A-89D8-CBFE-F807-D45EC7A36808}"/>
                  </a:ext>
                </a:extLst>
              </p:cNvPr>
              <p:cNvSpPr/>
              <p:nvPr/>
            </p:nvSpPr>
            <p:spPr>
              <a:xfrm>
                <a:off x="1834931" y="5649539"/>
                <a:ext cx="596172" cy="378371"/>
              </a:xfrm>
              <a:prstGeom prst="roundRect">
                <a:avLst/>
              </a:prstGeom>
              <a:solidFill>
                <a:srgbClr val="EEEEEE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99" name="Picture 398">
                <a:extLst>
                  <a:ext uri="{FF2B5EF4-FFF2-40B4-BE49-F238E27FC236}">
                    <a16:creationId xmlns:a16="http://schemas.microsoft.com/office/drawing/2014/main" id="{9DE61390-2AFB-1167-7186-43F9D6B1F5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85265" y="5654705"/>
                <a:ext cx="504107" cy="378371"/>
              </a:xfrm>
              <a:prstGeom prst="rect">
                <a:avLst/>
              </a:prstGeom>
            </p:spPr>
          </p:pic>
        </p:grp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38C75BDD-B75B-7DCA-DA22-AAA97C9588C6}"/>
                </a:ext>
              </a:extLst>
            </p:cNvPr>
            <p:cNvSpPr txBox="1"/>
            <p:nvPr/>
          </p:nvSpPr>
          <p:spPr>
            <a:xfrm>
              <a:off x="2876500" y="6401937"/>
              <a:ext cx="2292921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error/retry alert to discord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75170868-9E74-4009-E74C-3918F3E0E5AF}"/>
              </a:ext>
            </a:extLst>
          </p:cNvPr>
          <p:cNvGrpSpPr/>
          <p:nvPr/>
        </p:nvGrpSpPr>
        <p:grpSpPr>
          <a:xfrm>
            <a:off x="3974480" y="6483878"/>
            <a:ext cx="1717312" cy="246221"/>
            <a:chOff x="4873325" y="6463091"/>
            <a:chExt cx="1889394" cy="270893"/>
          </a:xfrm>
        </p:grpSpPr>
        <p:sp>
          <p:nvSpPr>
            <p:cNvPr id="419" name="Rectangle: Rounded Corners 418">
              <a:extLst>
                <a:ext uri="{FF2B5EF4-FFF2-40B4-BE49-F238E27FC236}">
                  <a16:creationId xmlns:a16="http://schemas.microsoft.com/office/drawing/2014/main" id="{7F28F3CA-1E36-239E-B0E9-47B5C3247B87}"/>
                </a:ext>
              </a:extLst>
            </p:cNvPr>
            <p:cNvSpPr/>
            <p:nvPr/>
          </p:nvSpPr>
          <p:spPr>
            <a:xfrm>
              <a:off x="4873325" y="6491993"/>
              <a:ext cx="353902" cy="208705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2552E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1A6A3E76-E1EA-940D-CAC6-12267D069D9F}"/>
                </a:ext>
              </a:extLst>
            </p:cNvPr>
            <p:cNvSpPr txBox="1"/>
            <p:nvPr/>
          </p:nvSpPr>
          <p:spPr>
            <a:xfrm>
              <a:off x="5149553" y="6463091"/>
              <a:ext cx="1613166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t process in a task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68667A1-A1A9-8B41-1163-74D393BA846A}"/>
              </a:ext>
            </a:extLst>
          </p:cNvPr>
          <p:cNvSpPr/>
          <p:nvPr/>
        </p:nvSpPr>
        <p:spPr>
          <a:xfrm>
            <a:off x="7695512" y="1451466"/>
            <a:ext cx="2689191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3: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run_marts_models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983B312-AA78-2E1A-598D-7B1410A4F51B}"/>
              </a:ext>
            </a:extLst>
          </p:cNvPr>
          <p:cNvCxnSpPr>
            <a:cxnSpLocks/>
          </p:cNvCxnSpPr>
          <p:nvPr/>
        </p:nvCxnSpPr>
        <p:spPr>
          <a:xfrm>
            <a:off x="7800469" y="1795127"/>
            <a:ext cx="3950658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A942E38F-F03D-AD91-BC65-E7E63AC2D691}"/>
              </a:ext>
            </a:extLst>
          </p:cNvPr>
          <p:cNvSpPr/>
          <p:nvPr/>
        </p:nvSpPr>
        <p:spPr>
          <a:xfrm>
            <a:off x="413931" y="190376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B505345-BD1B-F890-A795-F5257183AAC6}"/>
              </a:ext>
            </a:extLst>
          </p:cNvPr>
          <p:cNvSpPr/>
          <p:nvPr/>
        </p:nvSpPr>
        <p:spPr>
          <a:xfrm>
            <a:off x="-550657" y="1457363"/>
            <a:ext cx="2893909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requisite: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168D313-2DB8-EBBC-2E1C-116D0D0215CB}"/>
              </a:ext>
            </a:extLst>
          </p:cNvPr>
          <p:cNvCxnSpPr>
            <a:cxnSpLocks/>
          </p:cNvCxnSpPr>
          <p:nvPr/>
        </p:nvCxnSpPr>
        <p:spPr>
          <a:xfrm>
            <a:off x="319419" y="1801366"/>
            <a:ext cx="139638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482B37A-D698-1420-0EF1-DF7C9A972B99}"/>
              </a:ext>
            </a:extLst>
          </p:cNvPr>
          <p:cNvCxnSpPr>
            <a:cxnSpLocks/>
          </p:cNvCxnSpPr>
          <p:nvPr/>
        </p:nvCxnSpPr>
        <p:spPr>
          <a:xfrm>
            <a:off x="1743427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891F68C-9D5B-A7E8-E2BA-B18AD50BC2A7}"/>
              </a:ext>
            </a:extLst>
          </p:cNvPr>
          <p:cNvSpPr/>
          <p:nvPr/>
        </p:nvSpPr>
        <p:spPr>
          <a:xfrm>
            <a:off x="357318" y="2463570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sing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ker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291BFB9-088F-5133-D962-6A4761A36BA3}"/>
              </a:ext>
            </a:extLst>
          </p:cNvPr>
          <p:cNvSpPr/>
          <p:nvPr/>
        </p:nvSpPr>
        <p:spPr>
          <a:xfrm>
            <a:off x="357318" y="3008266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ndetial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202D958-C866-1CFC-7555-BF61CD851C88}"/>
              </a:ext>
            </a:extLst>
          </p:cNvPr>
          <p:cNvSpPr/>
          <p:nvPr/>
        </p:nvSpPr>
        <p:spPr>
          <a:xfrm>
            <a:off x="357318" y="3743177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C2EB991D-7477-30D0-CE5B-70E32866D6BD}"/>
              </a:ext>
            </a:extLst>
          </p:cNvPr>
          <p:cNvSpPr/>
          <p:nvPr/>
        </p:nvSpPr>
        <p:spPr>
          <a:xfrm>
            <a:off x="357318" y="4481718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project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0F06AA6-36A7-B29A-40E7-632EEC6CEF37}"/>
              </a:ext>
            </a:extLst>
          </p:cNvPr>
          <p:cNvSpPr/>
          <p:nvPr/>
        </p:nvSpPr>
        <p:spPr>
          <a:xfrm>
            <a:off x="357318" y="5231162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ros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6FBBFB2-915C-2C4C-FD9C-D0EBD1821DAE}"/>
              </a:ext>
            </a:extLst>
          </p:cNvPr>
          <p:cNvSpPr/>
          <p:nvPr/>
        </p:nvSpPr>
        <p:spPr>
          <a:xfrm>
            <a:off x="413931" y="5918277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49B8530E-8782-1F6F-462C-B099104ECC70}"/>
              </a:ext>
            </a:extLst>
          </p:cNvPr>
          <p:cNvCxnSpPr>
            <a:cxnSpLocks/>
          </p:cNvCxnSpPr>
          <p:nvPr/>
        </p:nvCxnSpPr>
        <p:spPr>
          <a:xfrm>
            <a:off x="890977" y="2323803"/>
            <a:ext cx="0" cy="13976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E03D9779-DC05-81C8-2426-BFDFE36D70F2}"/>
              </a:ext>
            </a:extLst>
          </p:cNvPr>
          <p:cNvCxnSpPr>
            <a:cxnSpLocks/>
          </p:cNvCxnSpPr>
          <p:nvPr/>
        </p:nvCxnSpPr>
        <p:spPr>
          <a:xfrm>
            <a:off x="896296" y="2883602"/>
            <a:ext cx="0" cy="12466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E28C03E-E266-2C35-60EB-FDDF46B35941}"/>
              </a:ext>
            </a:extLst>
          </p:cNvPr>
          <p:cNvCxnSpPr>
            <a:cxnSpLocks/>
          </p:cNvCxnSpPr>
          <p:nvPr/>
        </p:nvCxnSpPr>
        <p:spPr>
          <a:xfrm>
            <a:off x="896296" y="3549674"/>
            <a:ext cx="0" cy="19350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F65A2598-2BA5-FC7D-69A3-713A07B57D66}"/>
              </a:ext>
            </a:extLst>
          </p:cNvPr>
          <p:cNvCxnSpPr>
            <a:cxnSpLocks/>
          </p:cNvCxnSpPr>
          <p:nvPr/>
        </p:nvCxnSpPr>
        <p:spPr>
          <a:xfrm>
            <a:off x="896296" y="4284585"/>
            <a:ext cx="0" cy="19713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4AB3F6F-FDC2-7194-AE78-3F2D2FDF320E}"/>
              </a:ext>
            </a:extLst>
          </p:cNvPr>
          <p:cNvCxnSpPr>
            <a:cxnSpLocks/>
          </p:cNvCxnSpPr>
          <p:nvPr/>
        </p:nvCxnSpPr>
        <p:spPr>
          <a:xfrm>
            <a:off x="896296" y="5023126"/>
            <a:ext cx="0" cy="20803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23878EB-B1B3-B989-7EF5-B2970567F07D}"/>
              </a:ext>
            </a:extLst>
          </p:cNvPr>
          <p:cNvCxnSpPr>
            <a:cxnSpLocks/>
          </p:cNvCxnSpPr>
          <p:nvPr/>
        </p:nvCxnSpPr>
        <p:spPr>
          <a:xfrm>
            <a:off x="890977" y="5772570"/>
            <a:ext cx="0" cy="1457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35528F14-DAC8-F0E7-3A6B-A1076306B464}"/>
              </a:ext>
            </a:extLst>
          </p:cNvPr>
          <p:cNvSpPr/>
          <p:nvPr/>
        </p:nvSpPr>
        <p:spPr>
          <a:xfrm>
            <a:off x="1883556" y="190376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A6CAB0B8-2AA1-DBF5-8A44-F380E67A28D9}"/>
              </a:ext>
            </a:extLst>
          </p:cNvPr>
          <p:cNvSpPr/>
          <p:nvPr/>
        </p:nvSpPr>
        <p:spPr>
          <a:xfrm>
            <a:off x="3166322" y="1903771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Diamond 69">
            <a:extLst>
              <a:ext uri="{FF2B5EF4-FFF2-40B4-BE49-F238E27FC236}">
                <a16:creationId xmlns:a16="http://schemas.microsoft.com/office/drawing/2014/main" id="{1BB2EB5C-7A46-BD7E-D9A6-81F5455439F6}"/>
              </a:ext>
            </a:extLst>
          </p:cNvPr>
          <p:cNvSpPr/>
          <p:nvPr/>
        </p:nvSpPr>
        <p:spPr>
          <a:xfrm>
            <a:off x="2972180" y="2621913"/>
            <a:ext cx="1466241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FDE58B4-EA3F-BDFB-3341-75BBC5A8CB0B}"/>
              </a:ext>
            </a:extLst>
          </p:cNvPr>
          <p:cNvGrpSpPr/>
          <p:nvPr/>
        </p:nvGrpSpPr>
        <p:grpSpPr>
          <a:xfrm>
            <a:off x="2181781" y="2719812"/>
            <a:ext cx="509191" cy="327579"/>
            <a:chOff x="1834931" y="5649539"/>
            <a:chExt cx="596172" cy="383537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C88F04C2-3773-481B-2A1B-914CA8CD480A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4DC102C6-26D9-5AC9-A427-A273EDDDD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070C88C-F93F-7E83-48BD-8859EACEB826}"/>
              </a:ext>
            </a:extLst>
          </p:cNvPr>
          <p:cNvSpPr/>
          <p:nvPr/>
        </p:nvSpPr>
        <p:spPr>
          <a:xfrm>
            <a:off x="3166322" y="3586200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project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Diamond 77">
            <a:extLst>
              <a:ext uri="{FF2B5EF4-FFF2-40B4-BE49-F238E27FC236}">
                <a16:creationId xmlns:a16="http://schemas.microsoft.com/office/drawing/2014/main" id="{13EB3505-FBAE-3382-0619-81D4C3E4B0D7}"/>
              </a:ext>
            </a:extLst>
          </p:cNvPr>
          <p:cNvSpPr/>
          <p:nvPr/>
        </p:nvSpPr>
        <p:spPr>
          <a:xfrm>
            <a:off x="1822000" y="3618830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35C565F-20C0-34F7-A656-55D3CCF0E3FB}"/>
              </a:ext>
            </a:extLst>
          </p:cNvPr>
          <p:cNvSpPr/>
          <p:nvPr/>
        </p:nvSpPr>
        <p:spPr>
          <a:xfrm>
            <a:off x="1897398" y="4491590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/staging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Diamond 82">
            <a:extLst>
              <a:ext uri="{FF2B5EF4-FFF2-40B4-BE49-F238E27FC236}">
                <a16:creationId xmlns:a16="http://schemas.microsoft.com/office/drawing/2014/main" id="{3B6E35FF-16DB-DD76-508B-3E0CA1764D92}"/>
              </a:ext>
            </a:extLst>
          </p:cNvPr>
          <p:cNvSpPr/>
          <p:nvPr/>
        </p:nvSpPr>
        <p:spPr>
          <a:xfrm>
            <a:off x="3090924" y="4524220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10A4F7F-E622-5E1E-2E14-3C3C776C88EB}"/>
              </a:ext>
            </a:extLst>
          </p:cNvPr>
          <p:cNvGrpSpPr/>
          <p:nvPr/>
        </p:nvGrpSpPr>
        <p:grpSpPr>
          <a:xfrm>
            <a:off x="4102762" y="4267894"/>
            <a:ext cx="509191" cy="327579"/>
            <a:chOff x="1834931" y="5649539"/>
            <a:chExt cx="596172" cy="383537"/>
          </a:xfrm>
        </p:grpSpPr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0DCA8195-7F7F-55EC-2D36-8DD24828406D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8CA5A110-8EAB-2E5D-14DF-A209FAB7A50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7A8CA06-DD96-7984-09D7-4CDB03E7CB0B}"/>
              </a:ext>
            </a:extLst>
          </p:cNvPr>
          <p:cNvSpPr/>
          <p:nvPr/>
        </p:nvSpPr>
        <p:spPr>
          <a:xfrm>
            <a:off x="3166322" y="5516754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s/staging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1CBCCBD-BE18-8C93-9004-F416C7E34C94}"/>
              </a:ext>
            </a:extLst>
          </p:cNvPr>
          <p:cNvCxnSpPr>
            <a:cxnSpLocks/>
            <a:stCxn id="66" idx="6"/>
            <a:endCxn id="67" idx="1"/>
          </p:cNvCxnSpPr>
          <p:nvPr/>
        </p:nvCxnSpPr>
        <p:spPr>
          <a:xfrm>
            <a:off x="2848287" y="2113782"/>
            <a:ext cx="318035" cy="5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A06D2A74-2827-77F6-10E5-0DACFC59E40A}"/>
              </a:ext>
            </a:extLst>
          </p:cNvPr>
          <p:cNvCxnSpPr>
            <a:cxnSpLocks/>
            <a:stCxn id="67" idx="2"/>
            <a:endCxn id="70" idx="0"/>
          </p:cNvCxnSpPr>
          <p:nvPr/>
        </p:nvCxnSpPr>
        <p:spPr>
          <a:xfrm>
            <a:off x="3705301" y="2323803"/>
            <a:ext cx="0" cy="29811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02FB1E29-4A3A-9CAD-B3B9-20B7A001C691}"/>
              </a:ext>
            </a:extLst>
          </p:cNvPr>
          <p:cNvCxnSpPr>
            <a:cxnSpLocks/>
            <a:stCxn id="70" idx="1"/>
            <a:endCxn id="75" idx="3"/>
          </p:cNvCxnSpPr>
          <p:nvPr/>
        </p:nvCxnSpPr>
        <p:spPr>
          <a:xfrm flipH="1">
            <a:off x="2655329" y="2883602"/>
            <a:ext cx="316851" cy="22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A31376FF-BE59-CBD9-267A-39F8E4BCF756}"/>
              </a:ext>
            </a:extLst>
          </p:cNvPr>
          <p:cNvCxnSpPr>
            <a:cxnSpLocks/>
            <a:stCxn id="76" idx="1"/>
            <a:endCxn id="78" idx="3"/>
          </p:cNvCxnSpPr>
          <p:nvPr/>
        </p:nvCxnSpPr>
        <p:spPr>
          <a:xfrm flipH="1">
            <a:off x="3050752" y="3880518"/>
            <a:ext cx="115570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1A448DFE-2649-8880-E540-5BA584D9EDB5}"/>
              </a:ext>
            </a:extLst>
          </p:cNvPr>
          <p:cNvCxnSpPr>
            <a:cxnSpLocks/>
            <a:stCxn id="78" idx="2"/>
            <a:endCxn id="79" idx="0"/>
          </p:cNvCxnSpPr>
          <p:nvPr/>
        </p:nvCxnSpPr>
        <p:spPr>
          <a:xfrm>
            <a:off x="2436376" y="4142207"/>
            <a:ext cx="1" cy="34938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6ECC35DE-F7ED-DB13-5C64-31E315B6A25C}"/>
              </a:ext>
            </a:extLst>
          </p:cNvPr>
          <p:cNvCxnSpPr>
            <a:cxnSpLocks/>
            <a:stCxn id="78" idx="0"/>
            <a:endCxn id="75" idx="2"/>
          </p:cNvCxnSpPr>
          <p:nvPr/>
        </p:nvCxnSpPr>
        <p:spPr>
          <a:xfrm flipV="1">
            <a:off x="2436376" y="3047391"/>
            <a:ext cx="3674" cy="57143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310B3AE8-2654-D53B-F3F3-914FF6BF433F}"/>
              </a:ext>
            </a:extLst>
          </p:cNvPr>
          <p:cNvCxnSpPr>
            <a:cxnSpLocks/>
            <a:stCxn id="79" idx="3"/>
            <a:endCxn id="83" idx="1"/>
          </p:cNvCxnSpPr>
          <p:nvPr/>
        </p:nvCxnSpPr>
        <p:spPr>
          <a:xfrm>
            <a:off x="2975355" y="4785908"/>
            <a:ext cx="115569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A421D120-33AC-1D1F-B942-5B4E6AC4A53B}"/>
              </a:ext>
            </a:extLst>
          </p:cNvPr>
          <p:cNvCxnSpPr>
            <a:cxnSpLocks/>
            <a:stCxn id="83" idx="2"/>
            <a:endCxn id="88" idx="0"/>
          </p:cNvCxnSpPr>
          <p:nvPr/>
        </p:nvCxnSpPr>
        <p:spPr>
          <a:xfrm>
            <a:off x="3705300" y="5047597"/>
            <a:ext cx="1" cy="46915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E17C3D2F-AAAB-26D0-7939-371AC590293C}"/>
              </a:ext>
            </a:extLst>
          </p:cNvPr>
          <p:cNvCxnSpPr>
            <a:cxnSpLocks/>
            <a:stCxn id="70" idx="2"/>
            <a:endCxn id="76" idx="0"/>
          </p:cNvCxnSpPr>
          <p:nvPr/>
        </p:nvCxnSpPr>
        <p:spPr>
          <a:xfrm>
            <a:off x="3705301" y="3145290"/>
            <a:ext cx="0" cy="44091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BFEFD0C2-3099-C780-84CA-48FBF65D93F8}"/>
              </a:ext>
            </a:extLst>
          </p:cNvPr>
          <p:cNvSpPr/>
          <p:nvPr/>
        </p:nvSpPr>
        <p:spPr>
          <a:xfrm>
            <a:off x="3594944" y="3231408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CCDFC96-4E72-04C0-FE0D-07B6CB92A0DD}"/>
              </a:ext>
            </a:extLst>
          </p:cNvPr>
          <p:cNvSpPr/>
          <p:nvPr/>
        </p:nvSpPr>
        <p:spPr>
          <a:xfrm>
            <a:off x="2741491" y="2748670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BFE54405-B8D4-C826-C340-D198FFC32BFC}"/>
              </a:ext>
            </a:extLst>
          </p:cNvPr>
          <p:cNvSpPr/>
          <p:nvPr/>
        </p:nvSpPr>
        <p:spPr>
          <a:xfrm>
            <a:off x="2313832" y="3266835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31FCCFF3-BEA3-A3FD-1E48-C63312ADD33C}"/>
              </a:ext>
            </a:extLst>
          </p:cNvPr>
          <p:cNvSpPr/>
          <p:nvPr/>
        </p:nvSpPr>
        <p:spPr>
          <a:xfrm>
            <a:off x="2308665" y="4162041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3" name="Straight Arrow Connector 309">
            <a:extLst>
              <a:ext uri="{FF2B5EF4-FFF2-40B4-BE49-F238E27FC236}">
                <a16:creationId xmlns:a16="http://schemas.microsoft.com/office/drawing/2014/main" id="{7BFFAE84-381E-A987-A2B6-794E61BE686C}"/>
              </a:ext>
            </a:extLst>
          </p:cNvPr>
          <p:cNvCxnSpPr>
            <a:cxnSpLocks/>
            <a:stCxn id="83" idx="3"/>
            <a:endCxn id="86" idx="2"/>
          </p:cNvCxnSpPr>
          <p:nvPr/>
        </p:nvCxnSpPr>
        <p:spPr>
          <a:xfrm flipV="1">
            <a:off x="4319676" y="4595473"/>
            <a:ext cx="41355" cy="190436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8" name="Oval 147">
            <a:extLst>
              <a:ext uri="{FF2B5EF4-FFF2-40B4-BE49-F238E27FC236}">
                <a16:creationId xmlns:a16="http://schemas.microsoft.com/office/drawing/2014/main" id="{3F1463E5-0B9F-9020-1E2E-064701F3AF45}"/>
              </a:ext>
            </a:extLst>
          </p:cNvPr>
          <p:cNvSpPr/>
          <p:nvPr/>
        </p:nvSpPr>
        <p:spPr>
          <a:xfrm>
            <a:off x="4403028" y="4629878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39C94791-F2E7-75B4-14E8-9FB1205457C4}"/>
              </a:ext>
            </a:extLst>
          </p:cNvPr>
          <p:cNvSpPr/>
          <p:nvPr/>
        </p:nvSpPr>
        <p:spPr>
          <a:xfrm>
            <a:off x="3570142" y="5108490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4FCCE502-4412-37F2-3C50-B4D70C721D79}"/>
              </a:ext>
            </a:extLst>
          </p:cNvPr>
          <p:cNvSpPr/>
          <p:nvPr/>
        </p:nvSpPr>
        <p:spPr>
          <a:xfrm>
            <a:off x="5540387" y="3044574"/>
            <a:ext cx="1329935" cy="58863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s/fac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41C08258-F0E0-079D-664C-11837A7CE67C}"/>
              </a:ext>
            </a:extLst>
          </p:cNvPr>
          <p:cNvSpPr/>
          <p:nvPr/>
        </p:nvSpPr>
        <p:spPr>
          <a:xfrm>
            <a:off x="8562811" y="5017478"/>
            <a:ext cx="1329935" cy="58863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s/mar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881FB2CD-C827-1B43-ABCC-31DE5A3254DA}"/>
              </a:ext>
            </a:extLst>
          </p:cNvPr>
          <p:cNvCxnSpPr>
            <a:cxnSpLocks/>
            <a:stCxn id="152" idx="3"/>
            <a:endCxn id="205" idx="1"/>
          </p:cNvCxnSpPr>
          <p:nvPr/>
        </p:nvCxnSpPr>
        <p:spPr>
          <a:xfrm>
            <a:off x="6870322" y="3338892"/>
            <a:ext cx="1818478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2" name="Oval 161">
            <a:extLst>
              <a:ext uri="{FF2B5EF4-FFF2-40B4-BE49-F238E27FC236}">
                <a16:creationId xmlns:a16="http://schemas.microsoft.com/office/drawing/2014/main" id="{BD6DFEF3-8C08-C1E4-34F3-46287BDA1CEF}"/>
              </a:ext>
            </a:extLst>
          </p:cNvPr>
          <p:cNvSpPr/>
          <p:nvPr/>
        </p:nvSpPr>
        <p:spPr>
          <a:xfrm>
            <a:off x="8745413" y="577257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F3919F61-835C-5B67-B775-22F86A1AD6D4}"/>
              </a:ext>
            </a:extLst>
          </p:cNvPr>
          <p:cNvCxnSpPr>
            <a:cxnSpLocks/>
            <a:stCxn id="154" idx="2"/>
            <a:endCxn id="162" idx="0"/>
          </p:cNvCxnSpPr>
          <p:nvPr/>
        </p:nvCxnSpPr>
        <p:spPr>
          <a:xfrm>
            <a:off x="9227779" y="5606114"/>
            <a:ext cx="0" cy="16645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7ED043D9-2880-B662-2FCC-ADFB2EA319CD}"/>
              </a:ext>
            </a:extLst>
          </p:cNvPr>
          <p:cNvSpPr/>
          <p:nvPr/>
        </p:nvSpPr>
        <p:spPr>
          <a:xfrm>
            <a:off x="5666376" y="5516754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/fac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Diamond 177">
            <a:extLst>
              <a:ext uri="{FF2B5EF4-FFF2-40B4-BE49-F238E27FC236}">
                <a16:creationId xmlns:a16="http://schemas.microsoft.com/office/drawing/2014/main" id="{7F874746-E554-D722-6C2D-0AB96CC3FBDD}"/>
              </a:ext>
            </a:extLst>
          </p:cNvPr>
          <p:cNvSpPr/>
          <p:nvPr/>
        </p:nvSpPr>
        <p:spPr>
          <a:xfrm>
            <a:off x="5590978" y="4497481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3BC4E593-459D-7B9F-CA27-58420243688E}"/>
              </a:ext>
            </a:extLst>
          </p:cNvPr>
          <p:cNvCxnSpPr>
            <a:cxnSpLocks/>
            <a:stCxn id="88" idx="3"/>
            <a:endCxn id="173" idx="1"/>
          </p:cNvCxnSpPr>
          <p:nvPr/>
        </p:nvCxnSpPr>
        <p:spPr>
          <a:xfrm>
            <a:off x="4244279" y="5811072"/>
            <a:ext cx="1422097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E0E41B6E-D503-0243-84B0-7CDB3EC73D4B}"/>
              </a:ext>
            </a:extLst>
          </p:cNvPr>
          <p:cNvCxnSpPr>
            <a:cxnSpLocks/>
            <a:stCxn id="173" idx="0"/>
            <a:endCxn id="178" idx="2"/>
          </p:cNvCxnSpPr>
          <p:nvPr/>
        </p:nvCxnSpPr>
        <p:spPr>
          <a:xfrm flipH="1" flipV="1">
            <a:off x="6205354" y="5020858"/>
            <a:ext cx="1" cy="49589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DB57E885-BB64-E7FB-627D-C20B0D0DBBA4}"/>
              </a:ext>
            </a:extLst>
          </p:cNvPr>
          <p:cNvCxnSpPr>
            <a:cxnSpLocks/>
            <a:stCxn id="178" idx="0"/>
            <a:endCxn id="152" idx="2"/>
          </p:cNvCxnSpPr>
          <p:nvPr/>
        </p:nvCxnSpPr>
        <p:spPr>
          <a:xfrm flipV="1">
            <a:off x="6205354" y="3633210"/>
            <a:ext cx="1" cy="86427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2E6259F1-3FFF-3E9B-0BF3-A0D44B14B95C}"/>
              </a:ext>
            </a:extLst>
          </p:cNvPr>
          <p:cNvGrpSpPr/>
          <p:nvPr/>
        </p:nvGrpSpPr>
        <p:grpSpPr>
          <a:xfrm>
            <a:off x="7178899" y="4595380"/>
            <a:ext cx="509191" cy="327579"/>
            <a:chOff x="1834931" y="5649539"/>
            <a:chExt cx="596172" cy="383537"/>
          </a:xfrm>
        </p:grpSpPr>
        <p:sp>
          <p:nvSpPr>
            <p:cNvPr id="199" name="Rectangle: Rounded Corners 198">
              <a:extLst>
                <a:ext uri="{FF2B5EF4-FFF2-40B4-BE49-F238E27FC236}">
                  <a16:creationId xmlns:a16="http://schemas.microsoft.com/office/drawing/2014/main" id="{34727DA1-E8AE-E666-65D4-8ECFEEB90A0E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0" name="Picture 199">
              <a:extLst>
                <a:ext uri="{FF2B5EF4-FFF2-40B4-BE49-F238E27FC236}">
                  <a16:creationId xmlns:a16="http://schemas.microsoft.com/office/drawing/2014/main" id="{061CB1A8-D7AF-5EB3-9B96-64ECF28ACC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205" name="Rectangle: Rounded Corners 204">
            <a:extLst>
              <a:ext uri="{FF2B5EF4-FFF2-40B4-BE49-F238E27FC236}">
                <a16:creationId xmlns:a16="http://schemas.microsoft.com/office/drawing/2014/main" id="{41B11E66-A82D-D09A-0503-47437B1C07F7}"/>
              </a:ext>
            </a:extLst>
          </p:cNvPr>
          <p:cNvSpPr/>
          <p:nvPr/>
        </p:nvSpPr>
        <p:spPr>
          <a:xfrm>
            <a:off x="8688800" y="3044574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/mar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Diamond 208">
            <a:extLst>
              <a:ext uri="{FF2B5EF4-FFF2-40B4-BE49-F238E27FC236}">
                <a16:creationId xmlns:a16="http://schemas.microsoft.com/office/drawing/2014/main" id="{392F08AB-86D9-A98D-1851-91A43C1C72C8}"/>
              </a:ext>
            </a:extLst>
          </p:cNvPr>
          <p:cNvSpPr/>
          <p:nvPr/>
        </p:nvSpPr>
        <p:spPr>
          <a:xfrm>
            <a:off x="8613402" y="3975659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98A944A1-91F2-41EC-ABCA-C4A0831346ED}"/>
              </a:ext>
            </a:extLst>
          </p:cNvPr>
          <p:cNvCxnSpPr>
            <a:cxnSpLocks/>
            <a:stCxn id="205" idx="2"/>
            <a:endCxn id="209" idx="0"/>
          </p:cNvCxnSpPr>
          <p:nvPr/>
        </p:nvCxnSpPr>
        <p:spPr>
          <a:xfrm flipH="1">
            <a:off x="9227778" y="3633210"/>
            <a:ext cx="1" cy="34244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D496E1D7-19EA-5369-832E-B781EB5B33D5}"/>
              </a:ext>
            </a:extLst>
          </p:cNvPr>
          <p:cNvCxnSpPr>
            <a:cxnSpLocks/>
            <a:stCxn id="209" idx="2"/>
            <a:endCxn id="154" idx="0"/>
          </p:cNvCxnSpPr>
          <p:nvPr/>
        </p:nvCxnSpPr>
        <p:spPr>
          <a:xfrm>
            <a:off x="9227778" y="4499036"/>
            <a:ext cx="1" cy="51844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1E195392-1880-4799-F78A-5C1CC3A6FB98}"/>
              </a:ext>
            </a:extLst>
          </p:cNvPr>
          <p:cNvGrpSpPr/>
          <p:nvPr/>
        </p:nvGrpSpPr>
        <p:grpSpPr>
          <a:xfrm>
            <a:off x="10352459" y="4073558"/>
            <a:ext cx="509191" cy="327579"/>
            <a:chOff x="1834931" y="5649539"/>
            <a:chExt cx="596172" cy="383537"/>
          </a:xfrm>
        </p:grpSpPr>
        <p:sp>
          <p:nvSpPr>
            <p:cNvPr id="222" name="Rectangle: Rounded Corners 221">
              <a:extLst>
                <a:ext uri="{FF2B5EF4-FFF2-40B4-BE49-F238E27FC236}">
                  <a16:creationId xmlns:a16="http://schemas.microsoft.com/office/drawing/2014/main" id="{B6D748D6-62A3-1E9B-3750-5786D96A5BB7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23" name="Picture 222">
              <a:extLst>
                <a:ext uri="{FF2B5EF4-FFF2-40B4-BE49-F238E27FC236}">
                  <a16:creationId xmlns:a16="http://schemas.microsoft.com/office/drawing/2014/main" id="{76A7942F-B281-0ECB-050C-4B2A17B81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D991BFC3-5D15-C61C-03C2-89A11A63CE8F}"/>
              </a:ext>
            </a:extLst>
          </p:cNvPr>
          <p:cNvCxnSpPr>
            <a:cxnSpLocks/>
            <a:stCxn id="209" idx="3"/>
            <a:endCxn id="222" idx="1"/>
          </p:cNvCxnSpPr>
          <p:nvPr/>
        </p:nvCxnSpPr>
        <p:spPr>
          <a:xfrm flipV="1">
            <a:off x="9842154" y="4235142"/>
            <a:ext cx="510305" cy="22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0" name="Straight Arrow Connector 239">
            <a:extLst>
              <a:ext uri="{FF2B5EF4-FFF2-40B4-BE49-F238E27FC236}">
                <a16:creationId xmlns:a16="http://schemas.microsoft.com/office/drawing/2014/main" id="{FBF705E8-7092-BA71-D354-65A5DC36DF86}"/>
              </a:ext>
            </a:extLst>
          </p:cNvPr>
          <p:cNvCxnSpPr>
            <a:cxnSpLocks/>
            <a:stCxn id="178" idx="3"/>
            <a:endCxn id="200" idx="1"/>
          </p:cNvCxnSpPr>
          <p:nvPr/>
        </p:nvCxnSpPr>
        <p:spPr>
          <a:xfrm>
            <a:off x="6819730" y="4759170"/>
            <a:ext cx="402159" cy="22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5" name="Oval 244">
            <a:extLst>
              <a:ext uri="{FF2B5EF4-FFF2-40B4-BE49-F238E27FC236}">
                <a16:creationId xmlns:a16="http://schemas.microsoft.com/office/drawing/2014/main" id="{9F1B6A7C-82ED-CD61-9574-B6FE8776BA75}"/>
              </a:ext>
            </a:extLst>
          </p:cNvPr>
          <p:cNvSpPr/>
          <p:nvPr/>
        </p:nvSpPr>
        <p:spPr>
          <a:xfrm>
            <a:off x="6078199" y="4065345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71741FFA-EC4E-DE62-84AA-C2C1E65C45F5}"/>
              </a:ext>
            </a:extLst>
          </p:cNvPr>
          <p:cNvSpPr/>
          <p:nvPr/>
        </p:nvSpPr>
        <p:spPr>
          <a:xfrm>
            <a:off x="6860884" y="4633199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5AC7192A-F39A-811C-13A3-DE7F77B7D90C}"/>
              </a:ext>
            </a:extLst>
          </p:cNvPr>
          <p:cNvSpPr/>
          <p:nvPr/>
        </p:nvSpPr>
        <p:spPr>
          <a:xfrm>
            <a:off x="9974763" y="4112598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6D11CCB5-34E0-7E6B-5C4E-C115AF839129}"/>
              </a:ext>
            </a:extLst>
          </p:cNvPr>
          <p:cNvSpPr/>
          <p:nvPr/>
        </p:nvSpPr>
        <p:spPr>
          <a:xfrm>
            <a:off x="9104914" y="4596398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6E1BF6-4016-0051-FF76-27AB8EAD87B6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5" name="SlideLogoText">
              <a:extLst>
                <a:ext uri="{FF2B5EF4-FFF2-40B4-BE49-F238E27FC236}">
                  <a16:creationId xmlns:a16="http://schemas.microsoft.com/office/drawing/2014/main" id="{CCFD6238-FCC4-5FD3-81B5-6155BEBA24AD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Slide Number">
              <a:extLst>
                <a:ext uri="{FF2B5EF4-FFF2-40B4-BE49-F238E27FC236}">
                  <a16:creationId xmlns:a16="http://schemas.microsoft.com/office/drawing/2014/main" id="{2B6AD2AB-02B9-1C81-5FF7-054719018E51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4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2894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720DCD6-1E22-4FA1-946B-F3895476A4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481030A-94BE-3454-FA2B-7519095DA822}"/>
              </a:ext>
            </a:extLst>
          </p:cNvPr>
          <p:cNvSpPr txBox="1"/>
          <p:nvPr/>
        </p:nvSpPr>
        <p:spPr>
          <a:xfrm>
            <a:off x="256941" y="1425752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Generation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BFAAB3-0BC8-1DC7-04D7-10811BAA3E2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611A1A-91F0-3A1C-D791-0E0F4C553DC4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8BCA7710-751B-0710-B46D-8179568F9903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0D255D13-969B-C537-3C0B-8513CB143A89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8E277E5-808B-1AA9-A48D-DD9861C5DB75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81A5443-F83D-4F1E-FB2E-85350C9424A5}"/>
              </a:ext>
            </a:extLst>
          </p:cNvPr>
          <p:cNvCxnSpPr>
            <a:cxnSpLocks/>
          </p:cNvCxnSpPr>
          <p:nvPr/>
        </p:nvCxnSpPr>
        <p:spPr>
          <a:xfrm>
            <a:off x="345057" y="1790206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4CF9E8D-EF56-E2D8-AAD9-BC8EC0E61780}"/>
              </a:ext>
            </a:extLst>
          </p:cNvPr>
          <p:cNvSpPr txBox="1"/>
          <p:nvPr/>
        </p:nvSpPr>
        <p:spPr>
          <a:xfrm>
            <a:off x="206943" y="478058"/>
            <a:ext cx="119850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How well did the data pipeline design perform after implementatio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t performs well, ensuring seamless data ingestion into the warehouse and transforming raw data into business-ready insights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79EB7A-4C9F-6D82-91BB-34B21A22BB1D}"/>
              </a:ext>
            </a:extLst>
          </p:cNvPr>
          <p:cNvCxnSpPr>
            <a:cxnSpLocks/>
          </p:cNvCxnSpPr>
          <p:nvPr/>
        </p:nvCxnSpPr>
        <p:spPr>
          <a:xfrm>
            <a:off x="345057" y="137091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C69C12F-B097-DC51-4572-748403E93015}"/>
              </a:ext>
            </a:extLst>
          </p:cNvPr>
          <p:cNvSpPr txBox="1"/>
          <p:nvPr/>
        </p:nvSpPr>
        <p:spPr>
          <a:xfrm>
            <a:off x="270069" y="1911239"/>
            <a:ext cx="400983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uccessfully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enerate and load data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to PostgreSQL, as well as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uilding relationships between tables –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ll orchestrated using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irflow</a:t>
            </a: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end discord alert if either error or retry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 logic automation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(</a:t>
            </a:r>
            <a:r>
              <a:rPr lang="en-US" sz="11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efer to appendix-2)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7A39302-1076-CD1A-E03E-BB324C9E5E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874" y="3486399"/>
            <a:ext cx="3153097" cy="258587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1BD0E04-68C2-3CE9-F4E9-7BB455014A72}"/>
              </a:ext>
            </a:extLst>
          </p:cNvPr>
          <p:cNvSpPr txBox="1"/>
          <p:nvPr/>
        </p:nvSpPr>
        <p:spPr>
          <a:xfrm>
            <a:off x="1236523" y="6090244"/>
            <a:ext cx="17531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ERD in PostgreSQ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D5360B6-1A88-0946-36F6-1938FBE5A019}"/>
              </a:ext>
            </a:extLst>
          </p:cNvPr>
          <p:cNvSpPr txBox="1"/>
          <p:nvPr/>
        </p:nvSpPr>
        <p:spPr>
          <a:xfrm>
            <a:off x="4180120" y="1425752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Warehouse Modelling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62AB4C-1EAB-600E-6984-2D7071F5FD13}"/>
              </a:ext>
            </a:extLst>
          </p:cNvPr>
          <p:cNvCxnSpPr>
            <a:cxnSpLocks/>
          </p:cNvCxnSpPr>
          <p:nvPr/>
        </p:nvCxnSpPr>
        <p:spPr>
          <a:xfrm>
            <a:off x="4268236" y="1790206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B9B1871-9A65-3196-05D8-1E65F9289DC2}"/>
              </a:ext>
            </a:extLst>
          </p:cNvPr>
          <p:cNvSpPr txBox="1"/>
          <p:nvPr/>
        </p:nvSpPr>
        <p:spPr>
          <a:xfrm>
            <a:off x="4193248" y="1911239"/>
            <a:ext cx="400983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uccessfully executed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LT process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enabling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cremental data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gestion from PostgreSQL to </a:t>
            </a: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igQuery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using </a:t>
            </a:r>
            <a:r>
              <a:rPr lang="en-US" sz="1400" b="1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psert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method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.</a:t>
            </a:r>
            <a:endParaRPr lang="en-US" sz="14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ransformed data 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cross layers from source to mart, ensuring business-ready insights. Implemented a </a:t>
            </a: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tar schema 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 facts layer to optimize analytical performance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80DE2C1C-9016-7283-062C-F767166C65F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4953"/>
          <a:stretch/>
        </p:blipFill>
        <p:spPr>
          <a:xfrm>
            <a:off x="6682524" y="4632716"/>
            <a:ext cx="1401629" cy="1457528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694822B-4DB0-EEC8-F96B-C5350DF52CCB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8470"/>
          <a:stretch/>
        </p:blipFill>
        <p:spPr>
          <a:xfrm>
            <a:off x="4503896" y="4192888"/>
            <a:ext cx="1970585" cy="232442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74D1C56-F153-140B-4617-C0C92844C787}"/>
              </a:ext>
            </a:extLst>
          </p:cNvPr>
          <p:cNvSpPr txBox="1"/>
          <p:nvPr/>
        </p:nvSpPr>
        <p:spPr>
          <a:xfrm>
            <a:off x="5517631" y="6517312"/>
            <a:ext cx="17531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ataset 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D3875C9-6D27-3C8D-EDD2-DD8240588C4F}"/>
              </a:ext>
            </a:extLst>
          </p:cNvPr>
          <p:cNvSpPr txBox="1"/>
          <p:nvPr/>
        </p:nvSpPr>
        <p:spPr>
          <a:xfrm>
            <a:off x="8131247" y="1425752"/>
            <a:ext cx="37906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ulfillment of business needs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3A64CB7-4B4F-6D6A-66D6-F07A287505B3}"/>
              </a:ext>
            </a:extLst>
          </p:cNvPr>
          <p:cNvCxnSpPr>
            <a:cxnSpLocks/>
          </p:cNvCxnSpPr>
          <p:nvPr/>
        </p:nvCxnSpPr>
        <p:spPr>
          <a:xfrm>
            <a:off x="8219363" y="1790206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4119780-A432-691C-CA1D-42F7C1E47EFB}"/>
              </a:ext>
            </a:extLst>
          </p:cNvPr>
          <p:cNvSpPr txBox="1"/>
          <p:nvPr/>
        </p:nvSpPr>
        <p:spPr>
          <a:xfrm>
            <a:off x="8144375" y="1911239"/>
            <a:ext cx="40098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he data can answer the questions that are asked in project’s background, such as:</a:t>
            </a:r>
            <a:endParaRPr lang="en-US" sz="14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C2721CD-1EEA-5608-7FD1-3CEC831DA24F}"/>
              </a:ext>
            </a:extLst>
          </p:cNvPr>
          <p:cNvSpPr txBox="1"/>
          <p:nvPr/>
        </p:nvSpPr>
        <p:spPr>
          <a:xfrm>
            <a:off x="8620645" y="2456532"/>
            <a:ext cx="349352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50% </a:t>
            </a:r>
            <a:r>
              <a:rPr lang="en-US" sz="1400" i="1" dirty="0">
                <a:latin typeface="Georgia" panose="02040502050405020303" pitchFamily="18" charset="0"/>
              </a:rPr>
              <a:t>of rides were cancelled.. need further investigations..</a:t>
            </a:r>
            <a:endParaRPr lang="en-ID" i="1" dirty="0">
              <a:latin typeface="Georgia" panose="02040502050405020303" pitchFamily="18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44BC906-F639-5339-62D5-0EF48D65FD24}"/>
              </a:ext>
            </a:extLst>
          </p:cNvPr>
          <p:cNvCxnSpPr>
            <a:cxnSpLocks/>
          </p:cNvCxnSpPr>
          <p:nvPr/>
        </p:nvCxnSpPr>
        <p:spPr>
          <a:xfrm>
            <a:off x="4173253" y="1804876"/>
            <a:ext cx="0" cy="4804504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F339CF8-319B-149F-D99A-0E2FE05F15BF}"/>
              </a:ext>
            </a:extLst>
          </p:cNvPr>
          <p:cNvCxnSpPr>
            <a:cxnSpLocks/>
          </p:cNvCxnSpPr>
          <p:nvPr/>
        </p:nvCxnSpPr>
        <p:spPr>
          <a:xfrm>
            <a:off x="8131247" y="1804876"/>
            <a:ext cx="0" cy="4804504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FB433DDB-2ADF-1C0D-D866-DC74512B87F4}"/>
              </a:ext>
            </a:extLst>
          </p:cNvPr>
          <p:cNvSpPr txBox="1"/>
          <p:nvPr/>
        </p:nvSpPr>
        <p:spPr>
          <a:xfrm>
            <a:off x="8620645" y="3366142"/>
            <a:ext cx="349352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438.2$ </a:t>
            </a:r>
            <a:r>
              <a:rPr lang="en-US" sz="1400" i="1" dirty="0">
                <a:latin typeface="Georgia" panose="02040502050405020303" pitchFamily="18" charset="0"/>
              </a:rPr>
              <a:t>in potential revenue was lost due to cancellations</a:t>
            </a:r>
            <a:endParaRPr lang="en-ID" i="1" dirty="0">
              <a:latin typeface="Georgia" panose="02040502050405020303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89A58E8-5B83-FF6C-8482-E7B7DAC3D62E}"/>
              </a:ext>
            </a:extLst>
          </p:cNvPr>
          <p:cNvSpPr txBox="1"/>
          <p:nvPr/>
        </p:nvSpPr>
        <p:spPr>
          <a:xfrm>
            <a:off x="8620645" y="4275752"/>
            <a:ext cx="349352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150</a:t>
            </a:r>
            <a:r>
              <a:rPr lang="en-US" sz="1400" i="1" dirty="0">
                <a:latin typeface="Georgia" panose="02040502050405020303" pitchFamily="18" charset="0"/>
              </a:rPr>
              <a:t> drivers were registered within the database.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5D44C8E-3AD7-9ED7-1592-4134E1B41A11}"/>
              </a:ext>
            </a:extLst>
          </p:cNvPr>
          <p:cNvSpPr txBox="1"/>
          <p:nvPr/>
        </p:nvSpPr>
        <p:spPr>
          <a:xfrm>
            <a:off x="8620645" y="5185362"/>
            <a:ext cx="34935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15%</a:t>
            </a:r>
            <a:r>
              <a:rPr lang="en-US" sz="1400" i="1" dirty="0">
                <a:latin typeface="Georgia" panose="02040502050405020303" pitchFamily="18" charset="0"/>
              </a:rPr>
              <a:t> of drivers are not generating any revenue.. Need to stimulate for retention…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2E9CFA-633D-9DC9-6CEC-BDABBD861403}"/>
              </a:ext>
            </a:extLst>
          </p:cNvPr>
          <p:cNvSpPr txBox="1"/>
          <p:nvPr/>
        </p:nvSpPr>
        <p:spPr>
          <a:xfrm>
            <a:off x="9971569" y="6139916"/>
            <a:ext cx="2240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Data as of 12</a:t>
            </a:r>
            <a:r>
              <a:rPr lang="en-US" sz="1000" i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bruary 2025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E49FB32-6DAD-E13E-0739-1811BB32B711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0" name="SlideLogoText">
              <a:extLst>
                <a:ext uri="{FF2B5EF4-FFF2-40B4-BE49-F238E27FC236}">
                  <a16:creationId xmlns:a16="http://schemas.microsoft.com/office/drawing/2014/main" id="{BCE31267-DC7E-6B00-6FCE-B88201C8D35B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" name="Slide Number">
              <a:extLst>
                <a:ext uri="{FF2B5EF4-FFF2-40B4-BE49-F238E27FC236}">
                  <a16:creationId xmlns:a16="http://schemas.microsoft.com/office/drawing/2014/main" id="{9668C78B-FAFB-CDF1-FCA6-613094BCAC11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5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6874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C21026C-09C6-37E4-91B0-3DF678511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4B39312-28D6-E5F1-4867-A07C2ABF57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C9152D13-66FC-C9B9-DE4E-2F9D5A322C43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F696F2C5-5788-CBCD-9B81-2685FCC3A2F9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4F02C8-66D5-98D4-21B2-B55D321996CF}"/>
              </a:ext>
            </a:extLst>
          </p:cNvPr>
          <p:cNvSpPr txBox="1"/>
          <p:nvPr/>
        </p:nvSpPr>
        <p:spPr>
          <a:xfrm>
            <a:off x="1509823" y="2121584"/>
            <a:ext cx="917235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3600" dirty="0">
                <a:solidFill>
                  <a:prstClr val="white"/>
                </a:solidFill>
                <a:latin typeface="EMprint" panose="020B0503020204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inal Project -  Web Scraping Using Selenium</a:t>
            </a:r>
            <a:endParaRPr lang="en-US" sz="3200" b="1" dirty="0">
              <a:solidFill>
                <a:prstClr val="white"/>
              </a:solidFill>
              <a:latin typeface="EMprint" panose="020B0503020204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3200" b="1" dirty="0">
              <a:solidFill>
                <a:prstClr val="white"/>
              </a:solidFill>
              <a:latin typeface="EMprint" panose="020B0503020204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400" b="1" dirty="0" err="1">
                <a:solidFill>
                  <a:prstClr val="white"/>
                </a:solidFill>
                <a:latin typeface="EMprint" panose="020B0503020204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ithub</a:t>
            </a:r>
            <a:r>
              <a:rPr lang="en-US" sz="2400" b="1" dirty="0">
                <a:solidFill>
                  <a:prstClr val="white"/>
                </a:solidFill>
                <a:latin typeface="EMprint" panose="020B0503020204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https://github.com/rizkyjarr/final-project-purwadhika</a:t>
            </a:r>
          </a:p>
          <a:p>
            <a:pPr>
              <a:defRPr/>
            </a:pPr>
            <a:endParaRPr lang="en-US" sz="3200" b="1" dirty="0">
              <a:solidFill>
                <a:prstClr val="white"/>
              </a:solidFill>
              <a:latin typeface="EMprint" panose="020B0503020204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C7D2AA-B3F1-5704-0AD2-80139E4CC876}"/>
              </a:ext>
            </a:extLst>
          </p:cNvPr>
          <p:cNvSpPr/>
          <p:nvPr/>
        </p:nvSpPr>
        <p:spPr>
          <a:xfrm>
            <a:off x="1629780" y="1895354"/>
            <a:ext cx="976260" cy="45720"/>
          </a:xfrm>
          <a:prstGeom prst="rect">
            <a:avLst/>
          </a:prstGeom>
          <a:solidFill>
            <a:srgbClr val="35B7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</p:spTree>
    <p:extLst>
      <p:ext uri="{BB962C8B-B14F-4D97-AF65-F5344CB8AC3E}">
        <p14:creationId xmlns:p14="http://schemas.microsoft.com/office/powerpoint/2010/main" val="40038551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294ED39-17A3-F7C9-8D98-E823908708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1401C37-21A6-8A11-F83F-D26CA505211A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82296A4-1210-E490-978F-D9C0A07DAE07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Study Case: Web Scraping dynamic website of Rupiah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Cepa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9970FEF-FAC4-6AF7-DC8D-0A78DD2ACCAC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584E6B1F-3C12-97AB-DEB4-5F0E1EBF5D6C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EA251D55-F3A5-7174-DA5C-4BE0835F673F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1F05D38-4596-EF03-BC67-54316FADDE48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34F845BB-992C-3B29-FEA3-DF2F7987EE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8963" y="1304797"/>
            <a:ext cx="7314074" cy="379120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2296CE3-4AAE-373D-EFB7-49EC1A3A24C3}"/>
              </a:ext>
            </a:extLst>
          </p:cNvPr>
          <p:cNvSpPr txBox="1"/>
          <p:nvPr/>
        </p:nvSpPr>
        <p:spPr>
          <a:xfrm>
            <a:off x="2304383" y="5328611"/>
            <a:ext cx="7583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roject Objective: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erform web scraping from one of P2P lending website (</a:t>
            </a: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upiahCepat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) and load to Data Warehouse (</a:t>
            </a: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igQuery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)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FBD4F3-2FD4-CE79-A49F-AF4730D9B0A2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9" name="SlideLogoText">
              <a:extLst>
                <a:ext uri="{FF2B5EF4-FFF2-40B4-BE49-F238E27FC236}">
                  <a16:creationId xmlns:a16="http://schemas.microsoft.com/office/drawing/2014/main" id="{E2BF1377-40FA-7F85-A609-E1D2FF49ED90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" name="Slide Number">
              <a:extLst>
                <a:ext uri="{FF2B5EF4-FFF2-40B4-BE49-F238E27FC236}">
                  <a16:creationId xmlns:a16="http://schemas.microsoft.com/office/drawing/2014/main" id="{B0AB1C4D-F1B7-0C88-E2CE-F829889344C8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7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49728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E750925-2B70-0565-AC9D-11C9D3507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7CF2F05C-94E6-3F85-9916-4B3F5F7C2D87}"/>
              </a:ext>
            </a:extLst>
          </p:cNvPr>
          <p:cNvSpPr/>
          <p:nvPr/>
        </p:nvSpPr>
        <p:spPr>
          <a:xfrm rot="16200000">
            <a:off x="8173422" y="-616302"/>
            <a:ext cx="337762" cy="4292428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D44F30F4-EFC9-7B0E-B2D5-E3027E5032CE}"/>
              </a:ext>
            </a:extLst>
          </p:cNvPr>
          <p:cNvSpPr/>
          <p:nvPr/>
        </p:nvSpPr>
        <p:spPr>
          <a:xfrm>
            <a:off x="6200372" y="1755619"/>
            <a:ext cx="4288145" cy="2358044"/>
          </a:xfrm>
          <a:prstGeom prst="roundRect">
            <a:avLst>
              <a:gd name="adj" fmla="val 389"/>
            </a:avLst>
          </a:prstGeom>
          <a:solidFill>
            <a:srgbClr val="FBFBFB"/>
          </a:solidFill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355BAE7-E6E0-633F-C37D-E467B012E1B4}"/>
              </a:ext>
            </a:extLst>
          </p:cNvPr>
          <p:cNvGrpSpPr/>
          <p:nvPr/>
        </p:nvGrpSpPr>
        <p:grpSpPr>
          <a:xfrm>
            <a:off x="10191754" y="6457114"/>
            <a:ext cx="1751177" cy="139126"/>
            <a:chOff x="9886849" y="6498754"/>
            <a:chExt cx="1751177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43DC6657-63CE-ED1C-36FB-FA6F29245E70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886849" y="6499381"/>
              <a:ext cx="164628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 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3395793B-4EAD-AB29-B862-906936058E2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8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C529E10-0F76-310A-58AB-6957A65BA9D5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FA99570-F582-60E9-E416-D9D7C31889DA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C7D69B05-1CDD-C5A9-D33E-ECB4EB4E3BA6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A0FFEF99-AA45-63EB-D868-4625317B00C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C6AB080-47FE-FDC7-601A-E351C0074502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18B882B4-40C8-DC84-30B1-0A7A0054E19C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Website scraping deliverable: Design Pipeline Architecture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BF82E93-3FD3-0D31-7283-F0FBB4634F78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26255B29-4B85-DE0D-2C7E-4AF5B2D7EB85}"/>
              </a:ext>
            </a:extLst>
          </p:cNvPr>
          <p:cNvCxnSpPr>
            <a:cxnSpLocks/>
          </p:cNvCxnSpPr>
          <p:nvPr/>
        </p:nvCxnSpPr>
        <p:spPr>
          <a:xfrm>
            <a:off x="1288235" y="2940172"/>
            <a:ext cx="1205452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2" name="Oval 221">
            <a:extLst>
              <a:ext uri="{FF2B5EF4-FFF2-40B4-BE49-F238E27FC236}">
                <a16:creationId xmlns:a16="http://schemas.microsoft.com/office/drawing/2014/main" id="{A3E13DAA-563F-A157-15A0-101685CEE329}"/>
              </a:ext>
            </a:extLst>
          </p:cNvPr>
          <p:cNvSpPr/>
          <p:nvPr/>
        </p:nvSpPr>
        <p:spPr>
          <a:xfrm>
            <a:off x="1589749" y="2782003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0F5D647-7803-D7B8-DE84-FEF942344A9D}"/>
              </a:ext>
            </a:extLst>
          </p:cNvPr>
          <p:cNvGrpSpPr/>
          <p:nvPr/>
        </p:nvGrpSpPr>
        <p:grpSpPr>
          <a:xfrm>
            <a:off x="322344" y="978778"/>
            <a:ext cx="1386289" cy="261610"/>
            <a:chOff x="322344" y="6175521"/>
            <a:chExt cx="1386289" cy="261610"/>
          </a:xfrm>
        </p:grpSpPr>
        <p:cxnSp>
          <p:nvCxnSpPr>
            <p:cNvPr id="401" name="Straight Arrow Connector 400">
              <a:extLst>
                <a:ext uri="{FF2B5EF4-FFF2-40B4-BE49-F238E27FC236}">
                  <a16:creationId xmlns:a16="http://schemas.microsoft.com/office/drawing/2014/main" id="{DEB36C97-EF29-AB7F-20A6-64B5EDBB0684}"/>
                </a:ext>
              </a:extLst>
            </p:cNvPr>
            <p:cNvCxnSpPr>
              <a:cxnSpLocks/>
            </p:cNvCxnSpPr>
            <p:nvPr/>
          </p:nvCxnSpPr>
          <p:spPr>
            <a:xfrm>
              <a:off x="322344" y="6303408"/>
              <a:ext cx="546441" cy="0"/>
            </a:xfrm>
            <a:prstGeom prst="straightConnector1">
              <a:avLst/>
            </a:prstGeom>
            <a:ln>
              <a:solidFill>
                <a:srgbClr val="2552E3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6" name="Oval 395">
              <a:extLst>
                <a:ext uri="{FF2B5EF4-FFF2-40B4-BE49-F238E27FC236}">
                  <a16:creationId xmlns:a16="http://schemas.microsoft.com/office/drawing/2014/main" id="{C4463831-1B14-F925-133D-636448B97BE6}"/>
                </a:ext>
              </a:extLst>
            </p:cNvPr>
            <p:cNvSpPr/>
            <p:nvPr/>
          </p:nvSpPr>
          <p:spPr>
            <a:xfrm>
              <a:off x="478000" y="6201976"/>
              <a:ext cx="219389" cy="219389"/>
            </a:xfrm>
            <a:prstGeom prst="ellipse">
              <a:avLst/>
            </a:prstGeom>
            <a:gradFill>
              <a:gsLst>
                <a:gs pos="44000">
                  <a:srgbClr val="2552E2"/>
                </a:gs>
                <a:gs pos="100000">
                  <a:srgbClr val="061E3F"/>
                </a:gs>
              </a:gsLst>
              <a:path path="circle">
                <a:fillToRect r="100000" b="100000"/>
              </a:path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Georgia" panose="02040502050405020303" pitchFamily="18" charset="0"/>
                  <a:cs typeface="Arial" panose="020B0604020202020204" pitchFamily="34" charset="0"/>
                </a:rPr>
                <a:t>&gt;</a:t>
              </a:r>
              <a:endParaRPr lang="en-ID" sz="1400" dirty="0">
                <a:latin typeface="Georgia" panose="02040502050405020303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EBD1F8CA-1954-29DD-9B36-599A06A69540}"/>
                </a:ext>
              </a:extLst>
            </p:cNvPr>
            <p:cNvSpPr txBox="1"/>
            <p:nvPr/>
          </p:nvSpPr>
          <p:spPr>
            <a:xfrm>
              <a:off x="755528" y="617552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Data flow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099CA32-5508-5E5F-09B5-222BCD2CF01B}"/>
              </a:ext>
            </a:extLst>
          </p:cNvPr>
          <p:cNvGrpSpPr/>
          <p:nvPr/>
        </p:nvGrpSpPr>
        <p:grpSpPr>
          <a:xfrm>
            <a:off x="1623103" y="972965"/>
            <a:ext cx="1386289" cy="261610"/>
            <a:chOff x="322344" y="6460961"/>
            <a:chExt cx="1386289" cy="261610"/>
          </a:xfrm>
        </p:grpSpPr>
        <p:cxnSp>
          <p:nvCxnSpPr>
            <p:cNvPr id="408" name="Straight Connector 68">
              <a:extLst>
                <a:ext uri="{FF2B5EF4-FFF2-40B4-BE49-F238E27FC236}">
                  <a16:creationId xmlns:a16="http://schemas.microsoft.com/office/drawing/2014/main" id="{0CF0535B-58EC-4C18-9FEA-C4E620E925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2344" y="6591766"/>
              <a:ext cx="513525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B829226D-6DB3-618E-7C68-66A81D1AE5FC}"/>
                </a:ext>
              </a:extLst>
            </p:cNvPr>
            <p:cNvSpPr txBox="1"/>
            <p:nvPr/>
          </p:nvSpPr>
          <p:spPr>
            <a:xfrm>
              <a:off x="755528" y="646096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Tech Stack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D0D9911B-E50B-E93A-E9FB-6128B57404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943" y="1621400"/>
            <a:ext cx="1976576" cy="262648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AFBF68F-9DEB-BE2D-0B4A-11ACCC6B46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4422" y="1698794"/>
            <a:ext cx="1859030" cy="248228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46642BD-8293-AA9F-7C73-57298ECDA7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26508" y="1698793"/>
            <a:ext cx="2283286" cy="2482288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29A89304-97D3-AD5B-1E4A-F60520B36E3F}"/>
              </a:ext>
            </a:extLst>
          </p:cNvPr>
          <p:cNvGrpSpPr/>
          <p:nvPr/>
        </p:nvGrpSpPr>
        <p:grpSpPr>
          <a:xfrm>
            <a:off x="280940" y="1367318"/>
            <a:ext cx="5815061" cy="337763"/>
            <a:chOff x="280940" y="1538534"/>
            <a:chExt cx="5815061" cy="337763"/>
          </a:xfrm>
        </p:grpSpPr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4AC67C5D-3057-D761-AB62-C8B29BBE5FB4}"/>
                </a:ext>
              </a:extLst>
            </p:cNvPr>
            <p:cNvSpPr/>
            <p:nvPr/>
          </p:nvSpPr>
          <p:spPr>
            <a:xfrm rot="16200000">
              <a:off x="3019589" y="-1200115"/>
              <a:ext cx="337763" cy="5815061"/>
            </a:xfrm>
            <a:prstGeom prst="roundRect">
              <a:avLst>
                <a:gd name="adj" fmla="val 7509"/>
              </a:avLst>
            </a:prstGeom>
            <a:gradFill flip="none" rotWithShape="0">
              <a:gsLst>
                <a:gs pos="29000">
                  <a:srgbClr val="051C39"/>
                </a:gs>
                <a:gs pos="100000">
                  <a:srgbClr val="2552E3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91428F-8587-31B8-9666-04711073D392}"/>
                </a:ext>
              </a:extLst>
            </p:cNvPr>
            <p:cNvSpPr txBox="1"/>
            <p:nvPr/>
          </p:nvSpPr>
          <p:spPr>
            <a:xfrm>
              <a:off x="1201265" y="1568520"/>
              <a:ext cx="48871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Source: </a:t>
              </a: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piah </a:t>
              </a:r>
              <a:r>
                <a:rPr lang="en-US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pat’s</a:t>
              </a: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ebsite statistic</a:t>
              </a:r>
              <a:endParaRPr lang="en-ID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20E0665-4BF5-9895-9CCF-C1055AD03541}"/>
              </a:ext>
            </a:extLst>
          </p:cNvPr>
          <p:cNvGrpSpPr/>
          <p:nvPr/>
        </p:nvGrpSpPr>
        <p:grpSpPr>
          <a:xfrm>
            <a:off x="7792137" y="2260271"/>
            <a:ext cx="1083811" cy="1348740"/>
            <a:chOff x="7632049" y="2034578"/>
            <a:chExt cx="1083811" cy="1930203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C0FED33-DD1F-AFF0-17C7-8776B0C681EB}"/>
                </a:ext>
              </a:extLst>
            </p:cNvPr>
            <p:cNvSpPr/>
            <p:nvPr/>
          </p:nvSpPr>
          <p:spPr>
            <a:xfrm>
              <a:off x="7632049" y="2034578"/>
              <a:ext cx="1083811" cy="1930203"/>
            </a:xfrm>
            <a:prstGeom prst="roundRect">
              <a:avLst>
                <a:gd name="adj" fmla="val 7509"/>
              </a:avLst>
            </a:prstGeom>
            <a:gradFill flip="none" rotWithShape="1">
              <a:gsLst>
                <a:gs pos="0">
                  <a:srgbClr val="051C39"/>
                </a:gs>
                <a:gs pos="100000">
                  <a:srgbClr val="2552E3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34B06BEB-0D4A-A511-E21D-69D3ACB75B49}"/>
                </a:ext>
              </a:extLst>
            </p:cNvPr>
            <p:cNvSpPr/>
            <p:nvPr/>
          </p:nvSpPr>
          <p:spPr>
            <a:xfrm>
              <a:off x="7669954" y="2066958"/>
              <a:ext cx="1008000" cy="1867733"/>
            </a:xfrm>
            <a:prstGeom prst="roundRect">
              <a:avLst>
                <a:gd name="adj" fmla="val 7509"/>
              </a:avLst>
            </a:prstGeom>
            <a:solidFill>
              <a:schemeClr val="bg1"/>
            </a:soli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3A58049F-E294-7644-CEE6-E7538B6F25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1959" y="2490471"/>
            <a:ext cx="444170" cy="44417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28FEAA4-193F-4400-81F6-F1C8A752FBBF}"/>
              </a:ext>
            </a:extLst>
          </p:cNvPr>
          <p:cNvSpPr txBox="1"/>
          <p:nvPr/>
        </p:nvSpPr>
        <p:spPr>
          <a:xfrm>
            <a:off x="7897903" y="2934641"/>
            <a:ext cx="872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err="1">
                <a:latin typeface="Arial" panose="020B0604020202020204" pitchFamily="34" charset="0"/>
                <a:cs typeface="Arial" panose="020B0604020202020204" pitchFamily="34" charset="0"/>
              </a:rPr>
              <a:t>Rupiahcepat_stats</a:t>
            </a:r>
            <a:endParaRPr lang="en-ID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D89F42E-BAD6-54F6-53A7-9479798F1232}"/>
              </a:ext>
            </a:extLst>
          </p:cNvPr>
          <p:cNvCxnSpPr>
            <a:cxnSpLocks/>
            <a:stCxn id="22" idx="3"/>
            <a:endCxn id="27" idx="1"/>
          </p:cNvCxnSpPr>
          <p:nvPr/>
        </p:nvCxnSpPr>
        <p:spPr>
          <a:xfrm flipV="1">
            <a:off x="6109794" y="2934641"/>
            <a:ext cx="1682343" cy="5296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6E87898C-AB4F-EEC9-F2FC-EAAA242F0610}"/>
              </a:ext>
            </a:extLst>
          </p:cNvPr>
          <p:cNvSpPr/>
          <p:nvPr/>
        </p:nvSpPr>
        <p:spPr>
          <a:xfrm>
            <a:off x="6636380" y="2782003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C4C0E2D-A876-DDC6-0531-B0B1D89BA2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595" y="1367454"/>
            <a:ext cx="321683" cy="321683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8D65D302-F088-C5D5-912B-1C86BE2D5B7F}"/>
              </a:ext>
            </a:extLst>
          </p:cNvPr>
          <p:cNvSpPr txBox="1"/>
          <p:nvPr/>
        </p:nvSpPr>
        <p:spPr>
          <a:xfrm>
            <a:off x="6631278" y="1359562"/>
            <a:ext cx="48871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Warehouse: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’s </a:t>
            </a:r>
            <a:r>
              <a: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6BAD919-0379-3195-FEE3-748AF9D7A8D2}"/>
              </a:ext>
            </a:extLst>
          </p:cNvPr>
          <p:cNvSpPr txBox="1"/>
          <p:nvPr/>
        </p:nvSpPr>
        <p:spPr>
          <a:xfrm>
            <a:off x="7048230" y="1823990"/>
            <a:ext cx="2571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Facts and Dim Layer</a:t>
            </a:r>
          </a:p>
          <a:p>
            <a:pPr algn="ctr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Dataset: </a:t>
            </a:r>
            <a:r>
              <a:rPr lang="en-US" sz="1100" dirty="0" err="1">
                <a:latin typeface="Arial" panose="020B0604020202020204" pitchFamily="34" charset="0"/>
                <a:cs typeface="Arial" panose="020B0604020202020204" pitchFamily="34" charset="0"/>
              </a:rPr>
              <a:t>rizky_dwh_hailing_source</a:t>
            </a:r>
            <a:endParaRPr lang="en-ID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C839E54-1169-A2B0-BF2C-5198383BB387}"/>
              </a:ext>
            </a:extLst>
          </p:cNvPr>
          <p:cNvSpPr/>
          <p:nvPr/>
        </p:nvSpPr>
        <p:spPr>
          <a:xfrm>
            <a:off x="393724" y="4952421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EE7AE327-365D-F656-A780-7A19AFD7BEA1}"/>
              </a:ext>
            </a:extLst>
          </p:cNvPr>
          <p:cNvSpPr/>
          <p:nvPr/>
        </p:nvSpPr>
        <p:spPr>
          <a:xfrm>
            <a:off x="1708635" y="4954733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if table exis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81700E7A-1A53-7851-606C-9BA0CFA66A7B}"/>
              </a:ext>
            </a:extLst>
          </p:cNvPr>
          <p:cNvSpPr/>
          <p:nvPr/>
        </p:nvSpPr>
        <p:spPr>
          <a:xfrm>
            <a:off x="3136772" y="4900753"/>
            <a:ext cx="1466241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C5C61D26-6932-C8EF-213C-53C5713E4EE3}"/>
              </a:ext>
            </a:extLst>
          </p:cNvPr>
          <p:cNvSpPr/>
          <p:nvPr/>
        </p:nvSpPr>
        <p:spPr>
          <a:xfrm>
            <a:off x="4968153" y="4954733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in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6F3182A-58E9-EAE8-6FAA-364FD3BAF857}"/>
              </a:ext>
            </a:extLst>
          </p:cNvPr>
          <p:cNvSpPr/>
          <p:nvPr/>
        </p:nvSpPr>
        <p:spPr>
          <a:xfrm>
            <a:off x="6470438" y="4954733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 remote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driver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8C996831-35EF-C761-75BE-25B716A4C886}"/>
              </a:ext>
            </a:extLst>
          </p:cNvPr>
          <p:cNvSpPr/>
          <p:nvPr/>
        </p:nvSpPr>
        <p:spPr>
          <a:xfrm>
            <a:off x="8475085" y="4954733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 element and try fetching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Diamond 44">
            <a:extLst>
              <a:ext uri="{FF2B5EF4-FFF2-40B4-BE49-F238E27FC236}">
                <a16:creationId xmlns:a16="http://schemas.microsoft.com/office/drawing/2014/main" id="{0BCC9E06-4680-1D0D-6FF6-FCD2F1DB01A5}"/>
              </a:ext>
            </a:extLst>
          </p:cNvPr>
          <p:cNvSpPr/>
          <p:nvPr/>
        </p:nvSpPr>
        <p:spPr>
          <a:xfrm>
            <a:off x="10289764" y="4900753"/>
            <a:ext cx="1466241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5E26018-C4DC-6FFA-2DCC-10B984FA828A}"/>
              </a:ext>
            </a:extLst>
          </p:cNvPr>
          <p:cNvGrpSpPr/>
          <p:nvPr/>
        </p:nvGrpSpPr>
        <p:grpSpPr>
          <a:xfrm>
            <a:off x="10760302" y="4398915"/>
            <a:ext cx="509191" cy="327579"/>
            <a:chOff x="1834931" y="5649539"/>
            <a:chExt cx="596172" cy="383537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317E89BA-72AC-C325-EFC7-CBB7377E67FA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C91FC524-96A9-80F4-9364-54C807D0A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F904918-DE88-91C2-0CCC-DD36D796F418}"/>
              </a:ext>
            </a:extLst>
          </p:cNvPr>
          <p:cNvSpPr/>
          <p:nvPr/>
        </p:nvSpPr>
        <p:spPr>
          <a:xfrm>
            <a:off x="10258757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 data to column headers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E4CCF87E-9960-8BF1-5B59-746875408B16}"/>
              </a:ext>
            </a:extLst>
          </p:cNvPr>
          <p:cNvSpPr/>
          <p:nvPr/>
        </p:nvSpPr>
        <p:spPr>
          <a:xfrm>
            <a:off x="8475085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 as DF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1F8B3CC8-9F33-961B-1C69-E6BF64C64F43}"/>
              </a:ext>
            </a:extLst>
          </p:cNvPr>
          <p:cNvSpPr/>
          <p:nvPr/>
        </p:nvSpPr>
        <p:spPr>
          <a:xfrm>
            <a:off x="6691413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d data 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 tabl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BQ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65776725-1D7E-6EB3-7DB6-487539FFE262}"/>
              </a:ext>
            </a:extLst>
          </p:cNvPr>
          <p:cNvSpPr/>
          <p:nvPr/>
        </p:nvSpPr>
        <p:spPr>
          <a:xfrm>
            <a:off x="4811889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g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 table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095C78B3-940A-0CDF-7281-EADBC610A2B4}"/>
              </a:ext>
            </a:extLst>
          </p:cNvPr>
          <p:cNvSpPr/>
          <p:nvPr/>
        </p:nvSpPr>
        <p:spPr>
          <a:xfrm>
            <a:off x="3008055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staging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95EAD86-0B44-E195-6D60-E7D1CD1ABCA3}"/>
              </a:ext>
            </a:extLst>
          </p:cNvPr>
          <p:cNvSpPr/>
          <p:nvPr/>
        </p:nvSpPr>
        <p:spPr>
          <a:xfrm>
            <a:off x="1697584" y="5794796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34827AD-CCA5-04BC-8536-454F0B86967B}"/>
              </a:ext>
            </a:extLst>
          </p:cNvPr>
          <p:cNvCxnSpPr>
            <a:cxnSpLocks/>
            <a:stCxn id="38" idx="6"/>
            <a:endCxn id="39" idx="1"/>
          </p:cNvCxnSpPr>
          <p:nvPr/>
        </p:nvCxnSpPr>
        <p:spPr>
          <a:xfrm>
            <a:off x="1358455" y="5162443"/>
            <a:ext cx="350180" cy="23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FF0EC429-BF4B-91AB-89AC-41575BB60B63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 flipV="1">
            <a:off x="2786592" y="5162442"/>
            <a:ext cx="350180" cy="23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E942050-25B9-70E8-E6F5-5681762C4344}"/>
              </a:ext>
            </a:extLst>
          </p:cNvPr>
          <p:cNvCxnSpPr>
            <a:cxnSpLocks/>
            <a:stCxn id="40" idx="3"/>
            <a:endCxn id="41" idx="1"/>
          </p:cNvCxnSpPr>
          <p:nvPr/>
        </p:nvCxnSpPr>
        <p:spPr>
          <a:xfrm>
            <a:off x="4603013" y="5162442"/>
            <a:ext cx="365140" cy="23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1713E118-1D91-C0E6-FA6C-166F2E502352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>
            <a:off x="6046110" y="5164749"/>
            <a:ext cx="424328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FA9D4D04-1B71-DE55-3818-67A1F52C8DD4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7998693" y="5164749"/>
            <a:ext cx="476392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BEE28AC1-1E1B-0924-153B-8B2AB2E5F583}"/>
              </a:ext>
            </a:extLst>
          </p:cNvPr>
          <p:cNvCxnSpPr>
            <a:cxnSpLocks/>
            <a:stCxn id="43" idx="3"/>
            <a:endCxn id="45" idx="1"/>
          </p:cNvCxnSpPr>
          <p:nvPr/>
        </p:nvCxnSpPr>
        <p:spPr>
          <a:xfrm flipV="1">
            <a:off x="10003340" y="5162442"/>
            <a:ext cx="286424" cy="23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E420370C-0668-76FA-58D5-3C6717871F52}"/>
              </a:ext>
            </a:extLst>
          </p:cNvPr>
          <p:cNvCxnSpPr>
            <a:cxnSpLocks/>
            <a:stCxn id="45" idx="0"/>
            <a:endCxn id="48" idx="2"/>
          </p:cNvCxnSpPr>
          <p:nvPr/>
        </p:nvCxnSpPr>
        <p:spPr>
          <a:xfrm flipH="1" flipV="1">
            <a:off x="11018571" y="4726494"/>
            <a:ext cx="4314" cy="17425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ED2B0CEE-DA42-39AA-D087-F4ECDDBF50B0}"/>
              </a:ext>
            </a:extLst>
          </p:cNvPr>
          <p:cNvCxnSpPr>
            <a:cxnSpLocks/>
            <a:stCxn id="45" idx="2"/>
            <a:endCxn id="49" idx="0"/>
          </p:cNvCxnSpPr>
          <p:nvPr/>
        </p:nvCxnSpPr>
        <p:spPr>
          <a:xfrm>
            <a:off x="11022885" y="5424130"/>
            <a:ext cx="0" cy="37067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BB448F0A-F161-683E-B550-E1F001114B44}"/>
              </a:ext>
            </a:extLst>
          </p:cNvPr>
          <p:cNvCxnSpPr>
            <a:cxnSpLocks/>
          </p:cNvCxnSpPr>
          <p:nvPr/>
        </p:nvCxnSpPr>
        <p:spPr>
          <a:xfrm flipH="1">
            <a:off x="10003340" y="6002865"/>
            <a:ext cx="244149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4FDF2640-0941-DF5E-25C3-E94BC3CF74B8}"/>
              </a:ext>
            </a:extLst>
          </p:cNvPr>
          <p:cNvCxnSpPr>
            <a:cxnSpLocks/>
            <a:endCxn id="51" idx="3"/>
          </p:cNvCxnSpPr>
          <p:nvPr/>
        </p:nvCxnSpPr>
        <p:spPr>
          <a:xfrm flipH="1">
            <a:off x="8219668" y="6004817"/>
            <a:ext cx="255417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66481879-C0D1-ECE8-BE91-A4FC3C3B1DB2}"/>
              </a:ext>
            </a:extLst>
          </p:cNvPr>
          <p:cNvCxnSpPr>
            <a:cxnSpLocks/>
            <a:stCxn id="51" idx="1"/>
          </p:cNvCxnSpPr>
          <p:nvPr/>
        </p:nvCxnSpPr>
        <p:spPr>
          <a:xfrm flipH="1">
            <a:off x="6340144" y="6004817"/>
            <a:ext cx="351269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5D148C43-DCB3-7823-BCA8-EE6AB302367F}"/>
              </a:ext>
            </a:extLst>
          </p:cNvPr>
          <p:cNvCxnSpPr>
            <a:cxnSpLocks/>
          </p:cNvCxnSpPr>
          <p:nvPr/>
        </p:nvCxnSpPr>
        <p:spPr>
          <a:xfrm flipH="1">
            <a:off x="4536310" y="6004817"/>
            <a:ext cx="275579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B240C333-E4C6-B1DC-5ABC-23E1B13A7CCB}"/>
              </a:ext>
            </a:extLst>
          </p:cNvPr>
          <p:cNvCxnSpPr>
            <a:cxnSpLocks/>
          </p:cNvCxnSpPr>
          <p:nvPr/>
        </p:nvCxnSpPr>
        <p:spPr>
          <a:xfrm flipH="1">
            <a:off x="2662315" y="5996676"/>
            <a:ext cx="345740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8" name="Oval 107">
            <a:extLst>
              <a:ext uri="{FF2B5EF4-FFF2-40B4-BE49-F238E27FC236}">
                <a16:creationId xmlns:a16="http://schemas.microsoft.com/office/drawing/2014/main" id="{9E1FD526-6B45-0659-CDA2-EAFF46F4F91D}"/>
              </a:ext>
            </a:extLst>
          </p:cNvPr>
          <p:cNvSpPr/>
          <p:nvPr/>
        </p:nvSpPr>
        <p:spPr>
          <a:xfrm>
            <a:off x="11231499" y="4725822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B663EA17-1339-3AF7-DB5A-952A6BC3247D}"/>
              </a:ext>
            </a:extLst>
          </p:cNvPr>
          <p:cNvSpPr/>
          <p:nvPr/>
        </p:nvSpPr>
        <p:spPr>
          <a:xfrm>
            <a:off x="10879407" y="5465989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0" name="Straight Arrow Connector 309">
            <a:extLst>
              <a:ext uri="{FF2B5EF4-FFF2-40B4-BE49-F238E27FC236}">
                <a16:creationId xmlns:a16="http://schemas.microsoft.com/office/drawing/2014/main" id="{986458EC-47F0-63BC-8ACE-855A5575AC27}"/>
              </a:ext>
            </a:extLst>
          </p:cNvPr>
          <p:cNvCxnSpPr>
            <a:cxnSpLocks/>
            <a:stCxn id="40" idx="0"/>
            <a:endCxn id="42" idx="0"/>
          </p:cNvCxnSpPr>
          <p:nvPr/>
        </p:nvCxnSpPr>
        <p:spPr>
          <a:xfrm rot="16200000" flipH="1">
            <a:off x="5525239" y="3245407"/>
            <a:ext cx="53980" cy="3364673"/>
          </a:xfrm>
          <a:prstGeom prst="bentConnector3">
            <a:avLst>
              <a:gd name="adj1" fmla="val -42349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3" name="Oval 112">
            <a:extLst>
              <a:ext uri="{FF2B5EF4-FFF2-40B4-BE49-F238E27FC236}">
                <a16:creationId xmlns:a16="http://schemas.microsoft.com/office/drawing/2014/main" id="{B1FB300A-F9EE-ACF9-8C69-0A24B911F3FC}"/>
              </a:ext>
            </a:extLst>
          </p:cNvPr>
          <p:cNvSpPr/>
          <p:nvPr/>
        </p:nvSpPr>
        <p:spPr>
          <a:xfrm>
            <a:off x="5533734" y="4534697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D23F0354-1A43-3594-E072-78EF7EB44EC7}"/>
              </a:ext>
            </a:extLst>
          </p:cNvPr>
          <p:cNvSpPr/>
          <p:nvPr/>
        </p:nvSpPr>
        <p:spPr>
          <a:xfrm>
            <a:off x="4620356" y="4970155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DC8A691-5185-860F-84AA-0E44A4BFCA1C}"/>
              </a:ext>
            </a:extLst>
          </p:cNvPr>
          <p:cNvSpPr/>
          <p:nvPr/>
        </p:nvSpPr>
        <p:spPr>
          <a:xfrm>
            <a:off x="188223" y="4484331"/>
            <a:ext cx="206113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on logic flow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8D4822C-DA18-64AD-461E-D26750095DA9}"/>
              </a:ext>
            </a:extLst>
          </p:cNvPr>
          <p:cNvSpPr/>
          <p:nvPr/>
        </p:nvSpPr>
        <p:spPr>
          <a:xfrm>
            <a:off x="10708392" y="1416705"/>
            <a:ext cx="1333162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rks: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A0AD0D-1608-FB00-3675-BDC71F988EDC}"/>
              </a:ext>
            </a:extLst>
          </p:cNvPr>
          <p:cNvSpPr txBox="1"/>
          <p:nvPr/>
        </p:nvSpPr>
        <p:spPr>
          <a:xfrm>
            <a:off x="10760300" y="1843236"/>
            <a:ext cx="128125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ocessing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ETL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1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sert new row if there’s any changes from the website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38FD373-60EF-CD07-ADB2-43D745897D25}"/>
              </a:ext>
            </a:extLst>
          </p:cNvPr>
          <p:cNvGrpSpPr/>
          <p:nvPr/>
        </p:nvGrpSpPr>
        <p:grpSpPr>
          <a:xfrm>
            <a:off x="6109794" y="3630875"/>
            <a:ext cx="2016036" cy="409480"/>
            <a:chOff x="6470436" y="3569436"/>
            <a:chExt cx="2016036" cy="40948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1D805A1-B88C-7A4B-74CB-424E2DE5A49E}"/>
                </a:ext>
              </a:extLst>
            </p:cNvPr>
            <p:cNvGrpSpPr/>
            <p:nvPr/>
          </p:nvGrpSpPr>
          <p:grpSpPr>
            <a:xfrm>
              <a:off x="6470436" y="3569436"/>
              <a:ext cx="2016036" cy="409480"/>
              <a:chOff x="5730358" y="5773001"/>
              <a:chExt cx="2016036" cy="488285"/>
            </a:xfrm>
          </p:grpSpPr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DC6BE6AB-BDAD-DB58-D2F7-2C04173BD5C5}"/>
                  </a:ext>
                </a:extLst>
              </p:cNvPr>
              <p:cNvSpPr/>
              <p:nvPr/>
            </p:nvSpPr>
            <p:spPr>
              <a:xfrm>
                <a:off x="6064050" y="5773001"/>
                <a:ext cx="1682344" cy="488285"/>
              </a:xfrm>
              <a:prstGeom prst="roundRect">
                <a:avLst>
                  <a:gd name="adj" fmla="val 854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CFA400E-A31A-176F-350C-93F7604A2013}"/>
                  </a:ext>
                </a:extLst>
              </p:cNvPr>
              <p:cNvSpPr txBox="1"/>
              <p:nvPr/>
            </p:nvSpPr>
            <p:spPr>
              <a:xfrm>
                <a:off x="5730358" y="5871497"/>
                <a:ext cx="1856833" cy="3119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craped using:</a:t>
                </a:r>
                <a:endParaRPr lang="en-ID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749A9B8B-511F-FFC0-C58E-BF5986D70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8848" y="3619023"/>
              <a:ext cx="296944" cy="310307"/>
            </a:xfrm>
            <a:prstGeom prst="rect">
              <a:avLst/>
            </a:prstGeom>
          </p:spPr>
        </p:pic>
      </p:grpSp>
      <p:cxnSp>
        <p:nvCxnSpPr>
          <p:cNvPr id="57" name="Straight Connector 68">
            <a:extLst>
              <a:ext uri="{FF2B5EF4-FFF2-40B4-BE49-F238E27FC236}">
                <a16:creationId xmlns:a16="http://schemas.microsoft.com/office/drawing/2014/main" id="{89705F5E-CDD9-5C02-9B6A-89B7FF73760E}"/>
              </a:ext>
            </a:extLst>
          </p:cNvPr>
          <p:cNvCxnSpPr>
            <a:cxnSpLocks/>
            <a:stCxn id="33" idx="0"/>
            <a:endCxn id="31" idx="4"/>
          </p:cNvCxnSpPr>
          <p:nvPr/>
        </p:nvCxnSpPr>
        <p:spPr>
          <a:xfrm rot="16200000" flipV="1">
            <a:off x="6772023" y="3118239"/>
            <a:ext cx="534287" cy="49098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D7744B28-41A8-E944-A84C-5E57233CEF22}"/>
              </a:ext>
            </a:extLst>
          </p:cNvPr>
          <p:cNvGrpSpPr/>
          <p:nvPr/>
        </p:nvGrpSpPr>
        <p:grpSpPr>
          <a:xfrm>
            <a:off x="8466417" y="3614497"/>
            <a:ext cx="2001296" cy="393525"/>
            <a:chOff x="2862931" y="6100534"/>
            <a:chExt cx="2265214" cy="439998"/>
          </a:xfrm>
        </p:grpSpPr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0B54A72E-F099-9A6B-66CC-8AD7C3658B9C}"/>
                </a:ext>
              </a:extLst>
            </p:cNvPr>
            <p:cNvSpPr/>
            <p:nvPr/>
          </p:nvSpPr>
          <p:spPr>
            <a:xfrm>
              <a:off x="2862931" y="6138081"/>
              <a:ext cx="2265214" cy="402451"/>
            </a:xfrm>
            <a:prstGeom prst="roundRect">
              <a:avLst>
                <a:gd name="adj" fmla="val 8547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EB3FA2C-AB0D-3C72-731D-E27D861181A6}"/>
                </a:ext>
              </a:extLst>
            </p:cNvPr>
            <p:cNvSpPr txBox="1"/>
            <p:nvPr/>
          </p:nvSpPr>
          <p:spPr>
            <a:xfrm>
              <a:off x="2904241" y="6100534"/>
              <a:ext cx="135738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Orchestrated using: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B713806D-0257-B073-4FC5-C053D1903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928" y="6157832"/>
              <a:ext cx="740504" cy="286328"/>
            </a:xfrm>
            <a:prstGeom prst="rect">
              <a:avLst/>
            </a:prstGeom>
          </p:spPr>
        </p:pic>
      </p:grpSp>
      <p:cxnSp>
        <p:nvCxnSpPr>
          <p:cNvPr id="66" name="Straight Connector 68">
            <a:extLst>
              <a:ext uri="{FF2B5EF4-FFF2-40B4-BE49-F238E27FC236}">
                <a16:creationId xmlns:a16="http://schemas.microsoft.com/office/drawing/2014/main" id="{831C7D1A-8056-AFF4-4B42-D6EC124CDF5F}"/>
              </a:ext>
            </a:extLst>
          </p:cNvPr>
          <p:cNvCxnSpPr>
            <a:cxnSpLocks/>
            <a:stCxn id="62" idx="1"/>
            <a:endCxn id="33" idx="3"/>
          </p:cNvCxnSpPr>
          <p:nvPr/>
        </p:nvCxnSpPr>
        <p:spPr>
          <a:xfrm flipH="1">
            <a:off x="8125830" y="3828050"/>
            <a:ext cx="340587" cy="756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9970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B272331-6B13-8592-A9C9-3C712DE1C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82A1FB0-50A1-C5D2-BF27-76C20E06C681}"/>
              </a:ext>
            </a:extLst>
          </p:cNvPr>
          <p:cNvGrpSpPr/>
          <p:nvPr/>
        </p:nvGrpSpPr>
        <p:grpSpPr>
          <a:xfrm>
            <a:off x="10188201" y="6470881"/>
            <a:ext cx="1831903" cy="139126"/>
            <a:chOff x="9806123" y="6498754"/>
            <a:chExt cx="1831903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64665A0B-19F2-A9C0-245B-57878D4B930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806123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70CF4594-B490-6EF3-FF3E-544518846EA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 </a:t>
              </a:r>
              <a:fld id="{4ABDCABE-3F10-B64C-92F1-862014417034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9</a:t>
              </a:fld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4726865-0022-6C6D-7CFA-C0B0584D14A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6488696-B8B8-D639-11D9-924A29400C06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BB8D7EB2-7088-6CD2-2D9F-A098CEEC62E3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F5A58C72-8562-827C-DEA1-0B5509DDB2D3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2A1EAC2-93F3-E8AE-E5B3-97403CCC9017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909CE2F5-68EC-498C-C47F-7526BCDC4D9C}"/>
              </a:ext>
            </a:extLst>
          </p:cNvPr>
          <p:cNvSpPr txBox="1"/>
          <p:nvPr/>
        </p:nvSpPr>
        <p:spPr>
          <a:xfrm>
            <a:off x="206943" y="479414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How well did the data pipeline design perform after implementation?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88E6AD4-FE5D-DA08-9DE5-DA4A58B561FA}"/>
              </a:ext>
            </a:extLst>
          </p:cNvPr>
          <p:cNvCxnSpPr>
            <a:cxnSpLocks/>
          </p:cNvCxnSpPr>
          <p:nvPr/>
        </p:nvCxnSpPr>
        <p:spPr>
          <a:xfrm>
            <a:off x="345057" y="991192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D5F3193C-C4C1-9D7A-6416-6153E2DC2CAA}"/>
              </a:ext>
            </a:extLst>
          </p:cNvPr>
          <p:cNvSpPr txBox="1"/>
          <p:nvPr/>
        </p:nvSpPr>
        <p:spPr>
          <a:xfrm>
            <a:off x="9971569" y="6139916"/>
            <a:ext cx="2240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Data as of 12</a:t>
            </a:r>
            <a:r>
              <a:rPr lang="en-US" sz="1000" i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bruary 202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17EABF-CB05-75D1-769A-95B380642F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944" y="4170448"/>
            <a:ext cx="4196922" cy="16963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AFAAFAC-194B-4C25-1013-BBA2B0775A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484" y="2370813"/>
            <a:ext cx="11331147" cy="103729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0D68FA9-A2B9-F579-FE73-DCEB785434B7}"/>
              </a:ext>
            </a:extLst>
          </p:cNvPr>
          <p:cNvSpPr txBox="1"/>
          <p:nvPr/>
        </p:nvSpPr>
        <p:spPr>
          <a:xfrm>
            <a:off x="345057" y="1285674"/>
            <a:ext cx="11846943" cy="78534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successfully 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craped 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sing 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elenium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and </a:t>
            </a:r>
            <a:r>
              <a:rPr kumimoji="0" lang="en-US" sz="1600" b="1" i="0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psert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o data warehouse – all orchestrated using 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ir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f there’s any changes in website, it will insert a new row of data and set the old data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inactive 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 </a:t>
            </a:r>
            <a:r>
              <a:rPr kumimoji="0" lang="en-US" sz="1600" b="1" i="0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s_active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colum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8B90DDF-5983-768C-6F83-F57E091F5181}"/>
              </a:ext>
            </a:extLst>
          </p:cNvPr>
          <p:cNvSpPr txBox="1"/>
          <p:nvPr/>
        </p:nvSpPr>
        <p:spPr>
          <a:xfrm>
            <a:off x="4688958" y="3408109"/>
            <a:ext cx="24599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ata Preview 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D5BA6A2-5040-B1E9-1BA1-FECBADB3F3C1}"/>
              </a:ext>
            </a:extLst>
          </p:cNvPr>
          <p:cNvSpPr txBox="1"/>
          <p:nvPr/>
        </p:nvSpPr>
        <p:spPr>
          <a:xfrm>
            <a:off x="1591411" y="5920409"/>
            <a:ext cx="27496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able preview 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atase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EF82459-80E2-E354-F428-857D29AFC9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03805" y="3875966"/>
            <a:ext cx="2647831" cy="214986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667F234-A381-0F12-27B8-19310F0D3435}"/>
              </a:ext>
            </a:extLst>
          </p:cNvPr>
          <p:cNvSpPr txBox="1"/>
          <p:nvPr/>
        </p:nvSpPr>
        <p:spPr>
          <a:xfrm>
            <a:off x="6697028" y="6035301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3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AG4 Historical Task Logs</a:t>
            </a:r>
          </a:p>
        </p:txBody>
      </p:sp>
    </p:spTree>
    <p:extLst>
      <p:ext uri="{BB962C8B-B14F-4D97-AF65-F5344CB8AC3E}">
        <p14:creationId xmlns:p14="http://schemas.microsoft.com/office/powerpoint/2010/main" val="1068833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531CF-00E5-3828-2C4C-87CACC44D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5CD5FADB-501B-0D88-AC39-D70F805F204A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97DA116-A11C-59C6-AA95-B4927DD81294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</a:rPr>
              <a:t>Table of Contents: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54F39C-D8D6-5C64-E1DB-31DD0455041A}"/>
              </a:ext>
            </a:extLst>
          </p:cNvPr>
          <p:cNvGrpSpPr/>
          <p:nvPr/>
        </p:nvGrpSpPr>
        <p:grpSpPr>
          <a:xfrm>
            <a:off x="345057" y="108128"/>
            <a:ext cx="4759537" cy="233680"/>
            <a:chOff x="314577" y="124170"/>
            <a:chExt cx="341429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62DEE151-64AE-AA9C-FCB1-276B785A9C86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EYDS Data Engineering Technical Test 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BD53C736-3F53-79F1-FD50-2E8C02376D72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86039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kern="0" dirty="0">
                  <a:solidFill>
                    <a:srgbClr val="7F7F7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Outlines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839C323-8E68-221C-9B53-25970E011C66}"/>
                </a:ext>
              </a:extLst>
            </p:cNvPr>
            <p:cNvCxnSpPr/>
            <p:nvPr/>
          </p:nvCxnSpPr>
          <p:spPr>
            <a:xfrm>
              <a:off x="1788447" y="12417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4" name="Rectangle 13">
            <a:hlinkClick r:id="rId5" action="ppaction://hlinksldjump"/>
            <a:extLst>
              <a:ext uri="{FF2B5EF4-FFF2-40B4-BE49-F238E27FC236}">
                <a16:creationId xmlns:a16="http://schemas.microsoft.com/office/drawing/2014/main" id="{A2DA0E0A-9C06-96D1-6BD3-FF5697999CCD}"/>
              </a:ext>
            </a:extLst>
          </p:cNvPr>
          <p:cNvSpPr/>
          <p:nvPr/>
        </p:nvSpPr>
        <p:spPr>
          <a:xfrm>
            <a:off x="2708415" y="2217914"/>
            <a:ext cx="539496" cy="540496"/>
          </a:xfrm>
          <a:prstGeom prst="rect">
            <a:avLst/>
          </a:prstGeom>
          <a:solidFill>
            <a:srgbClr val="FCE6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1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hlinkClick r:id="rId6" action="ppaction://hlinksldjump"/>
            <a:extLst>
              <a:ext uri="{FF2B5EF4-FFF2-40B4-BE49-F238E27FC236}">
                <a16:creationId xmlns:a16="http://schemas.microsoft.com/office/drawing/2014/main" id="{54ACE69C-B8F1-453C-63F1-D7ED8056383C}"/>
              </a:ext>
            </a:extLst>
          </p:cNvPr>
          <p:cNvSpPr/>
          <p:nvPr/>
        </p:nvSpPr>
        <p:spPr>
          <a:xfrm>
            <a:off x="3332254" y="2118112"/>
            <a:ext cx="5527494" cy="740100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1</a:t>
            </a:r>
            <a:r>
              <a:rPr lang="en-US" sz="2000" b="1" baseline="300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t</a:t>
            </a:r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Case – SQL Query Creation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hlinkClick r:id="rId7" action="ppaction://hlinksldjump"/>
            <a:extLst>
              <a:ext uri="{FF2B5EF4-FFF2-40B4-BE49-F238E27FC236}">
                <a16:creationId xmlns:a16="http://schemas.microsoft.com/office/drawing/2014/main" id="{DDD3C425-AF4C-CA7F-112C-47CB2FD330C1}"/>
              </a:ext>
            </a:extLst>
          </p:cNvPr>
          <p:cNvSpPr/>
          <p:nvPr/>
        </p:nvSpPr>
        <p:spPr>
          <a:xfrm>
            <a:off x="2708415" y="3128070"/>
            <a:ext cx="539496" cy="540496"/>
          </a:xfrm>
          <a:prstGeom prst="rect">
            <a:avLst/>
          </a:prstGeom>
          <a:solidFill>
            <a:srgbClr val="FCE6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2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hlinkClick r:id="rId8" action="ppaction://hlinksldjump"/>
            <a:extLst>
              <a:ext uri="{FF2B5EF4-FFF2-40B4-BE49-F238E27FC236}">
                <a16:creationId xmlns:a16="http://schemas.microsoft.com/office/drawing/2014/main" id="{558A4831-9A21-5A61-7F55-0F7CDDA6B87A}"/>
              </a:ext>
            </a:extLst>
          </p:cNvPr>
          <p:cNvSpPr/>
          <p:nvPr/>
        </p:nvSpPr>
        <p:spPr>
          <a:xfrm>
            <a:off x="3332253" y="3028268"/>
            <a:ext cx="5527495" cy="740100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2</a:t>
            </a:r>
            <a:r>
              <a:rPr lang="en-US" sz="2000" b="1" baseline="300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nd</a:t>
            </a:r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Case – E-comm Data Warehouse design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hlinkClick r:id="rId7" action="ppaction://hlinksldjump"/>
            <a:extLst>
              <a:ext uri="{FF2B5EF4-FFF2-40B4-BE49-F238E27FC236}">
                <a16:creationId xmlns:a16="http://schemas.microsoft.com/office/drawing/2014/main" id="{070D647C-3060-70D4-8235-0F307B3AE5A5}"/>
              </a:ext>
            </a:extLst>
          </p:cNvPr>
          <p:cNvSpPr/>
          <p:nvPr/>
        </p:nvSpPr>
        <p:spPr>
          <a:xfrm>
            <a:off x="2708415" y="4042570"/>
            <a:ext cx="539496" cy="540496"/>
          </a:xfrm>
          <a:prstGeom prst="rect">
            <a:avLst/>
          </a:prstGeom>
          <a:solidFill>
            <a:srgbClr val="FCE6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3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hlinkClick r:id="rId8" action="ppaction://hlinksldjump"/>
            <a:extLst>
              <a:ext uri="{FF2B5EF4-FFF2-40B4-BE49-F238E27FC236}">
                <a16:creationId xmlns:a16="http://schemas.microsoft.com/office/drawing/2014/main" id="{79E3D37B-7571-323D-FA82-962869334D8A}"/>
              </a:ext>
            </a:extLst>
          </p:cNvPr>
          <p:cNvSpPr/>
          <p:nvPr/>
        </p:nvSpPr>
        <p:spPr>
          <a:xfrm>
            <a:off x="3332254" y="3942768"/>
            <a:ext cx="5527492" cy="740100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3</a:t>
            </a:r>
            <a:r>
              <a:rPr lang="en-US" sz="2000" b="1" baseline="300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d</a:t>
            </a:r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Case – Batching Data Pipeline design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1769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B361793-8397-1B8F-00E2-C63F09B172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C728955-1D0B-E0D6-F132-3B73D01285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B55C1B7E-7FEB-27B4-AD7D-F939E3A35559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E78EB0D9-D213-1AAD-4E39-95D50730E50B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76A201-88F6-8BB1-9040-7B51B2075C58}"/>
              </a:ext>
            </a:extLst>
          </p:cNvPr>
          <p:cNvSpPr txBox="1"/>
          <p:nvPr/>
        </p:nvSpPr>
        <p:spPr>
          <a:xfrm>
            <a:off x="1014523" y="1461184"/>
            <a:ext cx="9172355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Thank you!</a:t>
            </a:r>
          </a:p>
          <a:p>
            <a:pPr>
              <a:lnSpc>
                <a:spcPct val="150000"/>
              </a:lnSpc>
              <a:defRPr/>
            </a:pP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ny feedback would be very much appreciated </a:t>
            </a: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</a:t>
            </a:r>
            <a:endParaRPr lang="en-US" sz="24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 err="1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ithub</a:t>
            </a:r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https://github.com/rizkyjarr/final-project-purwadhika</a:t>
            </a:r>
          </a:p>
          <a:p>
            <a:pPr>
              <a:defRPr/>
            </a:pPr>
            <a:endParaRPr lang="en-US" sz="3200" b="1" dirty="0">
              <a:solidFill>
                <a:prstClr val="white"/>
              </a:solidFill>
              <a:latin typeface="Georgia" panose="02040502050405020303" pitchFamily="18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6A790E-5553-A93C-DA13-334851A8F9AB}"/>
              </a:ext>
            </a:extLst>
          </p:cNvPr>
          <p:cNvSpPr/>
          <p:nvPr/>
        </p:nvSpPr>
        <p:spPr>
          <a:xfrm>
            <a:off x="1134480" y="1234954"/>
            <a:ext cx="976260" cy="45720"/>
          </a:xfrm>
          <a:prstGeom prst="rect">
            <a:avLst/>
          </a:prstGeom>
          <a:solidFill>
            <a:srgbClr val="35B7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A88E05-9F51-1A8A-8190-AA5672E2C5AE}"/>
              </a:ext>
            </a:extLst>
          </p:cNvPr>
          <p:cNvSpPr txBox="1"/>
          <p:nvPr/>
        </p:nvSpPr>
        <p:spPr>
          <a:xfrm>
            <a:off x="10605181" y="38100"/>
            <a:ext cx="15741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</p:spTree>
    <p:extLst>
      <p:ext uri="{BB962C8B-B14F-4D97-AF65-F5344CB8AC3E}">
        <p14:creationId xmlns:p14="http://schemas.microsoft.com/office/powerpoint/2010/main" val="33830492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BCBD578-DD6F-967E-2E52-3F7BDA5D2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8E37D12-C30C-6D66-ADEF-20365DB80C9A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8E7DD192-91E3-9672-58BA-DE10D3685E3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09EBEE46-A9A9-2A3B-CB59-F0A60F52DBD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1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CF23446-401C-B054-4545-3390892E320B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FB7F53-6992-74E5-1849-7F052F0DE0B6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Appendix 1 – SQL FIL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27317B-E282-4F71-C47A-0CBBFA73A682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B7439204-D89F-F1F0-22EE-49BD0727E642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4E817C5C-8A39-4CBA-1328-02C8D5F945AE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0EFE26F-50D9-ACBD-DA06-0682EA68E123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B654D2-7949-FB77-2935-F7E099233C32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16F330A-6C5B-659E-E2C1-E313BCAE81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0900" y="1788210"/>
            <a:ext cx="4168781" cy="3281579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AE39ED-0333-0A5D-2D0C-B99E3D7F68C4}"/>
              </a:ext>
            </a:extLst>
          </p:cNvPr>
          <p:cNvSpPr/>
          <p:nvPr/>
        </p:nvSpPr>
        <p:spPr>
          <a:xfrm>
            <a:off x="850900" y="2952750"/>
            <a:ext cx="4054475" cy="1190625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8F3266-2C36-C49E-80E1-FD9C14F902EA}"/>
              </a:ext>
            </a:extLst>
          </p:cNvPr>
          <p:cNvSpPr txBox="1"/>
          <p:nvPr/>
        </p:nvSpPr>
        <p:spPr>
          <a:xfrm>
            <a:off x="1577969" y="5121210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QL folder locatio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AA55F22-4060-CFCE-C791-C0DB88DE31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7522" y="1788209"/>
            <a:ext cx="5401347" cy="328157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0AE520C-FF24-33C5-F2B8-738073BA5CFD}"/>
              </a:ext>
            </a:extLst>
          </p:cNvPr>
          <p:cNvSpPr txBox="1"/>
          <p:nvPr/>
        </p:nvSpPr>
        <p:spPr>
          <a:xfrm>
            <a:off x="7413548" y="5121210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de example</a:t>
            </a:r>
          </a:p>
        </p:txBody>
      </p:sp>
    </p:spTree>
    <p:extLst>
      <p:ext uri="{BB962C8B-B14F-4D97-AF65-F5344CB8AC3E}">
        <p14:creationId xmlns:p14="http://schemas.microsoft.com/office/powerpoint/2010/main" val="40394275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86FA96A2-147C-AE09-26A8-F19EF6A4E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279C242-0B0F-A981-8612-D3D1783F9453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15E28812-D454-0283-B8C7-8479F0ED8295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C93BA1D9-2654-0230-D220-FAB803F1B99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2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C800135-2B73-65C1-3695-A08D318147AC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79FFB75-4FD2-5E1D-2A97-3E50B3378A2C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Appendix 2 – Discord Webhook Aler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3A617A-B140-D252-CB36-7EF1007B4CB8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C74DAC96-E0A8-BABA-F3DD-B98C9C6CF8FD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4487C7B4-3029-96F0-C280-7DD614E26955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30CE467-99B5-85FE-6A84-FA91E478FB17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46CDA4A-D8FF-99A6-5F5B-A7A89988DDD1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3D66C37-5681-5260-B1DF-C40A1E504AC9}"/>
              </a:ext>
            </a:extLst>
          </p:cNvPr>
          <p:cNvSpPr txBox="1"/>
          <p:nvPr/>
        </p:nvSpPr>
        <p:spPr>
          <a:xfrm>
            <a:off x="1577969" y="5834190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Error and retry alert on Discor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09697A-78CA-67BB-BA76-1181F2AF946B}"/>
              </a:ext>
            </a:extLst>
          </p:cNvPr>
          <p:cNvSpPr txBox="1"/>
          <p:nvPr/>
        </p:nvSpPr>
        <p:spPr>
          <a:xfrm>
            <a:off x="7469695" y="5885959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iscord alert’s scrip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6DB2B1-BF38-7CB0-0B9E-364B1F5222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1742" y="1349715"/>
            <a:ext cx="6465200" cy="44437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E6C695-2393-6EDA-4A32-4F18E2D472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0900" y="2077303"/>
            <a:ext cx="3448531" cy="1619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0663408-1081-A9C4-DA3A-32828421C3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057" y="3881890"/>
            <a:ext cx="4782217" cy="1190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6247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6C0B778-A0A3-A06E-9A62-EE3BA3BC6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3E28F7A-E2ED-4636-AF0F-8D0754A5F7B0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F321D026-F6CB-D289-B4D1-433F8CDCFB7E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B038113C-4D5C-89F5-0464-04004F176E9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3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3C43F59-525E-BD84-79CA-5608E3A5DAA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E28C454-FBB0-22A8-5E11-ED092A19C46D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Appendix 3 – Data Preview in </a:t>
            </a:r>
            <a:r>
              <a:rPr kumimoji="0" lang="en-US" sz="2400" b="1" i="0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BigQuer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DE0DED-F3A8-8777-1360-D53AECC29CDA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DFEF194C-EF7E-0823-41DF-E208858FCE7D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9507A9C6-009D-D538-66BA-9F626A99396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4D96600-0295-6C9A-75BF-222D394285FA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7D9C619C-6CC7-885D-07A5-3188DFFEF3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42158" y="7019999"/>
            <a:ext cx="3751064" cy="27363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8E51A79-EC96-3087-C091-6771D891B5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3743517" y="7019999"/>
            <a:ext cx="4594417" cy="2773037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1C330E-E0D0-AD2A-51DB-71182FFD514C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4" name="Picture 123">
            <a:extLst>
              <a:ext uri="{FF2B5EF4-FFF2-40B4-BE49-F238E27FC236}">
                <a16:creationId xmlns:a16="http://schemas.microsoft.com/office/drawing/2014/main" id="{2E58438D-0071-4C05-F195-C1DBEE3CF5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1188" y="7020000"/>
            <a:ext cx="7792537" cy="27531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68C3E0E-699F-0D07-E79E-3DA40BA26E9C}"/>
              </a:ext>
            </a:extLst>
          </p:cNvPr>
          <p:cNvSpPr txBox="1"/>
          <p:nvPr/>
        </p:nvSpPr>
        <p:spPr>
          <a:xfrm>
            <a:off x="2195117" y="3620046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art_cust_rides_daily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ab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9D7844F-B608-18CB-4359-E5D240D15C5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42840" y="1113827"/>
            <a:ext cx="3893568" cy="253609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249A75F-68F7-0893-C0F5-9F01F054462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04457" y="3939939"/>
            <a:ext cx="3893568" cy="251774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DE91081-A1E7-BF96-3248-55C29D53EB4A}"/>
              </a:ext>
            </a:extLst>
          </p:cNvPr>
          <p:cNvSpPr txBox="1"/>
          <p:nvPr/>
        </p:nvSpPr>
        <p:spPr>
          <a:xfrm>
            <a:off x="2195117" y="6543756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act_hailing_rides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9EB1E83A-EFCF-9804-4D49-A9770ED863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51859" y="1121980"/>
            <a:ext cx="4673150" cy="249806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FEE9D42-AA6B-7184-70BA-4F4A9C0E3FC6}"/>
              </a:ext>
            </a:extLst>
          </p:cNvPr>
          <p:cNvSpPr txBox="1"/>
          <p:nvPr/>
        </p:nvSpPr>
        <p:spPr>
          <a:xfrm>
            <a:off x="7523117" y="3620046"/>
            <a:ext cx="25412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3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art_driver_loyalty_mgm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abl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129E879-44B6-B937-428F-41B6DCF2F91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46885" y="4000692"/>
            <a:ext cx="3293680" cy="237925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62BB69D6-D8CA-62C5-4ECF-F8A159C99F66}"/>
              </a:ext>
            </a:extLst>
          </p:cNvPr>
          <p:cNvSpPr txBox="1"/>
          <p:nvPr/>
        </p:nvSpPr>
        <p:spPr>
          <a:xfrm>
            <a:off x="7523117" y="6417019"/>
            <a:ext cx="25412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4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dim_customer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able</a:t>
            </a:r>
          </a:p>
        </p:txBody>
      </p:sp>
    </p:spTree>
    <p:extLst>
      <p:ext uri="{BB962C8B-B14F-4D97-AF65-F5344CB8AC3E}">
        <p14:creationId xmlns:p14="http://schemas.microsoft.com/office/powerpoint/2010/main" val="1751282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A5D32-5ED0-96A1-02FA-012D4E2546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C0FD676-F7A2-FE68-7A52-BFB8FBDE93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9BBEAA90-80CB-1DCC-15F9-4D86E74FD12C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92BD86EA-CA46-15F9-A29F-C582AD5A848B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3" name="Rectangle 2">
            <a:hlinkClick r:id="rId5" action="ppaction://hlinksldjump"/>
            <a:extLst>
              <a:ext uri="{FF2B5EF4-FFF2-40B4-BE49-F238E27FC236}">
                <a16:creationId xmlns:a16="http://schemas.microsoft.com/office/drawing/2014/main" id="{68F210E7-7A20-620A-785A-38D4A39B4B91}"/>
              </a:ext>
            </a:extLst>
          </p:cNvPr>
          <p:cNvSpPr/>
          <p:nvPr/>
        </p:nvSpPr>
        <p:spPr>
          <a:xfrm>
            <a:off x="817653" y="910624"/>
            <a:ext cx="9939804" cy="5121876"/>
          </a:xfrm>
          <a:prstGeom prst="rect">
            <a:avLst/>
          </a:prstGeom>
          <a:solidFill>
            <a:srgbClr val="7F7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D" sz="2000" b="1" dirty="0">
              <a:solidFill>
                <a:schemeClr val="bg1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E26D2C-3071-5EF5-9AA2-9DB800FE4EA3}"/>
              </a:ext>
            </a:extLst>
          </p:cNvPr>
          <p:cNvSpPr txBox="1"/>
          <p:nvPr/>
        </p:nvSpPr>
        <p:spPr>
          <a:xfrm>
            <a:off x="1014523" y="1461184"/>
            <a:ext cx="80151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1</a:t>
            </a:r>
            <a:r>
              <a:rPr lang="en-US" sz="6000" b="1" baseline="30000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st</a:t>
            </a: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 Case Problem Solving – </a:t>
            </a:r>
          </a:p>
          <a:p>
            <a:pPr>
              <a:defRPr/>
            </a:pPr>
            <a:r>
              <a:rPr lang="en-US" sz="6000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SQL Query Creation</a:t>
            </a:r>
          </a:p>
          <a:p>
            <a:pPr>
              <a:defRPr/>
            </a:pPr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182798-7FD5-BED7-B5C9-F80167731C99}"/>
              </a:ext>
            </a:extLst>
          </p:cNvPr>
          <p:cNvSpPr/>
          <p:nvPr/>
        </p:nvSpPr>
        <p:spPr>
          <a:xfrm>
            <a:off x="1134480" y="1234954"/>
            <a:ext cx="976260" cy="45720"/>
          </a:xfrm>
          <a:prstGeom prst="rect">
            <a:avLst/>
          </a:prstGeom>
          <a:solidFill>
            <a:srgbClr val="FCE6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</p:spTree>
    <p:extLst>
      <p:ext uri="{BB962C8B-B14F-4D97-AF65-F5344CB8AC3E}">
        <p14:creationId xmlns:p14="http://schemas.microsoft.com/office/powerpoint/2010/main" val="3738483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83DFF7-814A-A4F0-A6FB-F6C2188FE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E5AC78C-FA90-B682-35A4-D2B0B9BBE5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57373F5E-283E-4499-B98E-3CA61343AA0E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A7280B4A-91B0-889B-E126-C36C77045835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3" name="Rectangle 2">
            <a:hlinkClick r:id="rId5" action="ppaction://hlinksldjump"/>
            <a:extLst>
              <a:ext uri="{FF2B5EF4-FFF2-40B4-BE49-F238E27FC236}">
                <a16:creationId xmlns:a16="http://schemas.microsoft.com/office/drawing/2014/main" id="{837BC272-1194-957F-E2E0-53A6BB3D4647}"/>
              </a:ext>
            </a:extLst>
          </p:cNvPr>
          <p:cNvSpPr/>
          <p:nvPr/>
        </p:nvSpPr>
        <p:spPr>
          <a:xfrm>
            <a:off x="817653" y="910624"/>
            <a:ext cx="9939804" cy="5121876"/>
          </a:xfrm>
          <a:prstGeom prst="rect">
            <a:avLst/>
          </a:prstGeom>
          <a:solidFill>
            <a:srgbClr val="7F7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D" sz="2000" b="1" dirty="0">
              <a:solidFill>
                <a:schemeClr val="bg1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776047-46AA-8B08-DCEA-779BF6ACF4D8}"/>
              </a:ext>
            </a:extLst>
          </p:cNvPr>
          <p:cNvSpPr txBox="1"/>
          <p:nvPr/>
        </p:nvSpPr>
        <p:spPr>
          <a:xfrm>
            <a:off x="1014523" y="1461184"/>
            <a:ext cx="80151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2</a:t>
            </a:r>
            <a:r>
              <a:rPr lang="en-US" sz="6000" b="1" baseline="30000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nd</a:t>
            </a: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 Case Problem Solving – </a:t>
            </a:r>
          </a:p>
          <a:p>
            <a:pPr>
              <a:defRPr/>
            </a:pPr>
            <a:r>
              <a:rPr lang="en-US" sz="6000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Data Modelling</a:t>
            </a:r>
          </a:p>
          <a:p>
            <a:pPr>
              <a:defRPr/>
            </a:pPr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A5899D-B05F-516E-B5BA-0476CA7FC25C}"/>
              </a:ext>
            </a:extLst>
          </p:cNvPr>
          <p:cNvSpPr/>
          <p:nvPr/>
        </p:nvSpPr>
        <p:spPr>
          <a:xfrm>
            <a:off x="1134480" y="1234954"/>
            <a:ext cx="976260" cy="45720"/>
          </a:xfrm>
          <a:prstGeom prst="rect">
            <a:avLst/>
          </a:prstGeom>
          <a:solidFill>
            <a:srgbClr val="FCE6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</p:spTree>
    <p:extLst>
      <p:ext uri="{BB962C8B-B14F-4D97-AF65-F5344CB8AC3E}">
        <p14:creationId xmlns:p14="http://schemas.microsoft.com/office/powerpoint/2010/main" val="12174273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1875D-15A9-8EF3-E57A-86C52DCAA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3AF00A7-C073-9B22-7FDF-F253EEDF67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D01A7FBD-60EF-47AF-6B8D-B329C26AAD0F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F15A388F-B1E8-CD55-608F-92E1FAF8D687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3" name="Rectangle 2">
            <a:hlinkClick r:id="rId5" action="ppaction://hlinksldjump"/>
            <a:extLst>
              <a:ext uri="{FF2B5EF4-FFF2-40B4-BE49-F238E27FC236}">
                <a16:creationId xmlns:a16="http://schemas.microsoft.com/office/drawing/2014/main" id="{2345A96D-F429-A9E6-5D8B-3E373F3F6301}"/>
              </a:ext>
            </a:extLst>
          </p:cNvPr>
          <p:cNvSpPr/>
          <p:nvPr/>
        </p:nvSpPr>
        <p:spPr>
          <a:xfrm>
            <a:off x="817653" y="910624"/>
            <a:ext cx="9939804" cy="5121876"/>
          </a:xfrm>
          <a:prstGeom prst="rect">
            <a:avLst/>
          </a:prstGeom>
          <a:solidFill>
            <a:srgbClr val="7F7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D" sz="2000" b="1" dirty="0">
              <a:solidFill>
                <a:schemeClr val="bg1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AD6BB-09E8-70FF-8960-4C2E9EC2BD56}"/>
              </a:ext>
            </a:extLst>
          </p:cNvPr>
          <p:cNvSpPr txBox="1"/>
          <p:nvPr/>
        </p:nvSpPr>
        <p:spPr>
          <a:xfrm>
            <a:off x="1014523" y="1461184"/>
            <a:ext cx="801517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3</a:t>
            </a:r>
            <a:r>
              <a:rPr lang="en-US" sz="6000" b="1" baseline="30000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rd</a:t>
            </a: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 Case Problem Solving – </a:t>
            </a:r>
          </a:p>
          <a:p>
            <a:pPr>
              <a:defRPr/>
            </a:pPr>
            <a:r>
              <a:rPr lang="en-US" sz="6000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Batching data pipeline design</a:t>
            </a:r>
          </a:p>
          <a:p>
            <a:pPr>
              <a:defRPr/>
            </a:pPr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91FD1F-FAB8-27CF-5AA1-6D073E6E6957}"/>
              </a:ext>
            </a:extLst>
          </p:cNvPr>
          <p:cNvSpPr/>
          <p:nvPr/>
        </p:nvSpPr>
        <p:spPr>
          <a:xfrm>
            <a:off x="1134480" y="1234954"/>
            <a:ext cx="976260" cy="45720"/>
          </a:xfrm>
          <a:prstGeom prst="rect">
            <a:avLst/>
          </a:prstGeom>
          <a:solidFill>
            <a:srgbClr val="FCE60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</p:spTree>
    <p:extLst>
      <p:ext uri="{BB962C8B-B14F-4D97-AF65-F5344CB8AC3E}">
        <p14:creationId xmlns:p14="http://schemas.microsoft.com/office/powerpoint/2010/main" val="2918906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69A491E-9F8E-E396-6FFE-71BFBB630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980650F-C064-FE8D-640F-8A1ABF5CE64D}"/>
              </a:ext>
            </a:extLst>
          </p:cNvPr>
          <p:cNvSpPr txBox="1"/>
          <p:nvPr/>
        </p:nvSpPr>
        <p:spPr>
          <a:xfrm>
            <a:off x="615019" y="1784128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QL Query Creation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B620E1-E639-06AB-A8D6-9E7D11E66101}"/>
              </a:ext>
            </a:extLst>
          </p:cNvPr>
          <p:cNvSpPr txBox="1"/>
          <p:nvPr/>
        </p:nvSpPr>
        <p:spPr>
          <a:xfrm>
            <a:off x="206943" y="478058"/>
            <a:ext cx="119850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EYDS Data Engineering Case Overview</a:t>
            </a:r>
            <a:endParaRPr kumimoji="0" lang="en-US" sz="2400" b="1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Georgia" panose="02040502050405020303" pitchFamily="18" charset="0"/>
              <a:ea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hese cases cover about the understanding of SQL, Data Modelling, and Data Pipeline Concepts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10127A-0F30-1542-DF37-A06C740AD76F}"/>
              </a:ext>
            </a:extLst>
          </p:cNvPr>
          <p:cNvSpPr txBox="1"/>
          <p:nvPr/>
        </p:nvSpPr>
        <p:spPr>
          <a:xfrm>
            <a:off x="270069" y="2248791"/>
            <a:ext cx="3882831" cy="4253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ase Objective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rite an SQL Query to get the top 10 customers by net total spending in the last 6 months. 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nstraints: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he expected output should include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ustomer_id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ustomer_name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untry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otal_spent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nique_products_purchase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nique_total_orders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tabLst/>
              <a:defRPr/>
            </a:pP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nd filtered only </a:t>
            </a:r>
            <a:r>
              <a:rPr lang="en-US" sz="1400" b="1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mpleted</a:t>
            </a: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orders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BDA04EE-EAF5-1985-1D12-4F4333D42212}"/>
              </a:ext>
            </a:extLst>
          </p:cNvPr>
          <p:cNvCxnSpPr>
            <a:cxnSpLocks/>
          </p:cNvCxnSpPr>
          <p:nvPr/>
        </p:nvCxnSpPr>
        <p:spPr>
          <a:xfrm>
            <a:off x="345057" y="2201125"/>
            <a:ext cx="3706243" cy="0"/>
          </a:xfrm>
          <a:prstGeom prst="line">
            <a:avLst/>
          </a:prstGeom>
          <a:ln w="9525">
            <a:solidFill>
              <a:srgbClr val="FCE60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742F3B3-31AF-FC14-CD7E-A38E95462EFE}"/>
              </a:ext>
            </a:extLst>
          </p:cNvPr>
          <p:cNvCxnSpPr>
            <a:cxnSpLocks/>
          </p:cNvCxnSpPr>
          <p:nvPr/>
        </p:nvCxnSpPr>
        <p:spPr>
          <a:xfrm>
            <a:off x="319657" y="1262144"/>
            <a:ext cx="11590003" cy="0"/>
          </a:xfrm>
          <a:prstGeom prst="line">
            <a:avLst/>
          </a:prstGeom>
          <a:ln>
            <a:solidFill>
              <a:srgbClr val="FCE60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Hexagon 38">
            <a:extLst>
              <a:ext uri="{FF2B5EF4-FFF2-40B4-BE49-F238E27FC236}">
                <a16:creationId xmlns:a16="http://schemas.microsoft.com/office/drawing/2014/main" id="{A48FEFC8-F9A5-E7D4-E986-C0820BBBF69F}"/>
              </a:ext>
            </a:extLst>
          </p:cNvPr>
          <p:cNvSpPr/>
          <p:nvPr/>
        </p:nvSpPr>
        <p:spPr>
          <a:xfrm rot="5400000">
            <a:off x="338369" y="1821820"/>
            <a:ext cx="309908" cy="296532"/>
          </a:xfrm>
          <a:prstGeom prst="hexagon">
            <a:avLst/>
          </a:prstGeom>
          <a:solidFill>
            <a:schemeClr val="bg1"/>
          </a:solidFill>
          <a:ln>
            <a:solidFill>
              <a:srgbClr val="FCE6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25EB049-3987-AECA-3103-47D552E85014}"/>
              </a:ext>
            </a:extLst>
          </p:cNvPr>
          <p:cNvSpPr txBox="1"/>
          <p:nvPr/>
        </p:nvSpPr>
        <p:spPr>
          <a:xfrm>
            <a:off x="362653" y="1781770"/>
            <a:ext cx="2856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Georgia" panose="02040502050405020303" pitchFamily="18" charset="0"/>
              </a:rPr>
              <a:t>1</a:t>
            </a:r>
            <a:endParaRPr lang="en-ID" sz="1600" b="1" dirty="0">
              <a:latin typeface="Georgia" panose="02040502050405020303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DF02E7-1FCD-70EA-DDBF-0D2258FBD038}"/>
              </a:ext>
            </a:extLst>
          </p:cNvPr>
          <p:cNvSpPr txBox="1"/>
          <p:nvPr/>
        </p:nvSpPr>
        <p:spPr>
          <a:xfrm>
            <a:off x="4545242" y="1784128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Modelling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16217E2-B683-FDA2-69B6-EE1D822185BF}"/>
              </a:ext>
            </a:extLst>
          </p:cNvPr>
          <p:cNvCxnSpPr>
            <a:cxnSpLocks/>
          </p:cNvCxnSpPr>
          <p:nvPr/>
        </p:nvCxnSpPr>
        <p:spPr>
          <a:xfrm>
            <a:off x="4275280" y="2201125"/>
            <a:ext cx="3706243" cy="0"/>
          </a:xfrm>
          <a:prstGeom prst="line">
            <a:avLst/>
          </a:prstGeom>
          <a:ln w="9525">
            <a:solidFill>
              <a:srgbClr val="FCE60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Hexagon 17">
            <a:extLst>
              <a:ext uri="{FF2B5EF4-FFF2-40B4-BE49-F238E27FC236}">
                <a16:creationId xmlns:a16="http://schemas.microsoft.com/office/drawing/2014/main" id="{2D3B0FB5-7A2E-C06F-2267-4582D17973F9}"/>
              </a:ext>
            </a:extLst>
          </p:cNvPr>
          <p:cNvSpPr/>
          <p:nvPr/>
        </p:nvSpPr>
        <p:spPr>
          <a:xfrm rot="5400000">
            <a:off x="4268592" y="1821820"/>
            <a:ext cx="309908" cy="296532"/>
          </a:xfrm>
          <a:prstGeom prst="hexagon">
            <a:avLst/>
          </a:prstGeom>
          <a:solidFill>
            <a:schemeClr val="bg1"/>
          </a:solidFill>
          <a:ln>
            <a:solidFill>
              <a:srgbClr val="FCE6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A24DE1-7AC3-4EA2-F109-4C10DAF003B7}"/>
              </a:ext>
            </a:extLst>
          </p:cNvPr>
          <p:cNvSpPr txBox="1"/>
          <p:nvPr/>
        </p:nvSpPr>
        <p:spPr>
          <a:xfrm>
            <a:off x="4292876" y="1781770"/>
            <a:ext cx="3129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Georgia" panose="02040502050405020303" pitchFamily="18" charset="0"/>
              </a:rPr>
              <a:t>2</a:t>
            </a:r>
            <a:endParaRPr lang="en-ID" sz="1600" b="1" dirty="0">
              <a:latin typeface="Georgia" panose="02040502050405020303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D03B74-4062-2765-5B27-6FD56F428AE4}"/>
              </a:ext>
            </a:extLst>
          </p:cNvPr>
          <p:cNvSpPr txBox="1"/>
          <p:nvPr/>
        </p:nvSpPr>
        <p:spPr>
          <a:xfrm>
            <a:off x="4292876" y="2248791"/>
            <a:ext cx="3898009" cy="4253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ase Objective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ing data warehouse for e-commerce platform to track its sales and operations performance.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asks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 a star schema within the data warehouse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Handle Slowly Changing Dimensions tables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erformance Optimization (indexing and partitioning)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rovide ERD or schema design within the warehouse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7B8254F-AD18-31E7-7DD4-0E0DBFF50C6C}"/>
              </a:ext>
            </a:extLst>
          </p:cNvPr>
          <p:cNvSpPr txBox="1"/>
          <p:nvPr/>
        </p:nvSpPr>
        <p:spPr>
          <a:xfrm>
            <a:off x="8460847" y="1784128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ipeline Design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B55D5EE-C14B-8280-42D6-44D06525E294}"/>
              </a:ext>
            </a:extLst>
          </p:cNvPr>
          <p:cNvCxnSpPr>
            <a:cxnSpLocks/>
          </p:cNvCxnSpPr>
          <p:nvPr/>
        </p:nvCxnSpPr>
        <p:spPr>
          <a:xfrm>
            <a:off x="8190885" y="2201125"/>
            <a:ext cx="3706243" cy="0"/>
          </a:xfrm>
          <a:prstGeom prst="line">
            <a:avLst/>
          </a:prstGeom>
          <a:ln w="9525">
            <a:solidFill>
              <a:srgbClr val="FCE60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Hexagon 28">
            <a:extLst>
              <a:ext uri="{FF2B5EF4-FFF2-40B4-BE49-F238E27FC236}">
                <a16:creationId xmlns:a16="http://schemas.microsoft.com/office/drawing/2014/main" id="{39E63D85-C411-083D-24CC-565E8DAE5098}"/>
              </a:ext>
            </a:extLst>
          </p:cNvPr>
          <p:cNvSpPr/>
          <p:nvPr/>
        </p:nvSpPr>
        <p:spPr>
          <a:xfrm rot="5400000">
            <a:off x="8184197" y="1821820"/>
            <a:ext cx="309908" cy="296532"/>
          </a:xfrm>
          <a:prstGeom prst="hexagon">
            <a:avLst/>
          </a:prstGeom>
          <a:solidFill>
            <a:schemeClr val="bg1"/>
          </a:solidFill>
          <a:ln>
            <a:solidFill>
              <a:srgbClr val="FCE6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D6D2FC1-5A29-13FB-38F0-19D082EF7CB5}"/>
              </a:ext>
            </a:extLst>
          </p:cNvPr>
          <p:cNvSpPr txBox="1"/>
          <p:nvPr/>
        </p:nvSpPr>
        <p:spPr>
          <a:xfrm>
            <a:off x="8208481" y="1781770"/>
            <a:ext cx="3129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Georgia" panose="02040502050405020303" pitchFamily="18" charset="0"/>
              </a:rPr>
              <a:t>3</a:t>
            </a:r>
            <a:endParaRPr lang="en-ID" sz="1600" b="1" dirty="0">
              <a:latin typeface="Georgia" panose="02040502050405020303" pitchFamily="18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F6DADC6-7F50-FBA6-5F10-FBF66F12F6B6}"/>
              </a:ext>
            </a:extLst>
          </p:cNvPr>
          <p:cNvSpPr txBox="1"/>
          <p:nvPr/>
        </p:nvSpPr>
        <p:spPr>
          <a:xfrm>
            <a:off x="8208481" y="2248791"/>
            <a:ext cx="4009831" cy="3284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ase Objective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uild batch ETL pipeline that processes JSON and load into PostgreSQL database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asks and Constraints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xtract </a:t>
            </a:r>
            <a:r>
              <a:rPr lang="en-US" sz="1400" dirty="0" err="1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json</a:t>
            </a: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from local directory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ransform data using </a:t>
            </a: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ySpark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that handles missing and duplicate values, convert data types, and aggregates customer transactions.</a:t>
            </a:r>
            <a:endParaRPr lang="en-US" sz="1400" dirty="0">
              <a:solidFill>
                <a:srgbClr val="646464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CE60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646464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Load the data into PostgreSQL database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9CDD4E7-0FD1-3244-0257-30CA6568C466}"/>
              </a:ext>
            </a:extLst>
          </p:cNvPr>
          <p:cNvGrpSpPr/>
          <p:nvPr/>
        </p:nvGrpSpPr>
        <p:grpSpPr>
          <a:xfrm>
            <a:off x="345057" y="108128"/>
            <a:ext cx="4759537" cy="233680"/>
            <a:chOff x="314577" y="124170"/>
            <a:chExt cx="3414291" cy="233680"/>
          </a:xfrm>
        </p:grpSpPr>
        <p:sp>
          <p:nvSpPr>
            <p:cNvPr id="41" name="SlideLogoText">
              <a:extLst>
                <a:ext uri="{FF2B5EF4-FFF2-40B4-BE49-F238E27FC236}">
                  <a16:creationId xmlns:a16="http://schemas.microsoft.com/office/drawing/2014/main" id="{28B366DF-BE0D-B2AA-572C-8FE3D25E8F8A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EYDS Data Engineering Technical Test </a:t>
              </a:r>
            </a:p>
          </p:txBody>
        </p:sp>
        <p:sp>
          <p:nvSpPr>
            <p:cNvPr id="42" name="SlideLogoText">
              <a:extLst>
                <a:ext uri="{FF2B5EF4-FFF2-40B4-BE49-F238E27FC236}">
                  <a16:creationId xmlns:a16="http://schemas.microsoft.com/office/drawing/2014/main" id="{7FE35981-A80C-3F39-0EEA-EF64F9794A5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86039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kern="0" dirty="0">
                  <a:solidFill>
                    <a:srgbClr val="7F7F7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Outlines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D7EB649-3BD5-C8E6-C3FC-62FD57605181}"/>
                </a:ext>
              </a:extLst>
            </p:cNvPr>
            <p:cNvCxnSpPr/>
            <p:nvPr/>
          </p:nvCxnSpPr>
          <p:spPr>
            <a:xfrm>
              <a:off x="1788447" y="12417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9CB7A447-8605-2D29-3038-689CDF71A8C8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60AD75D-5D6D-9C57-1198-B73C6C439AED}"/>
              </a:ext>
            </a:extLst>
          </p:cNvPr>
          <p:cNvCxnSpPr>
            <a:cxnSpLocks/>
          </p:cNvCxnSpPr>
          <p:nvPr/>
        </p:nvCxnSpPr>
        <p:spPr>
          <a:xfrm>
            <a:off x="4152900" y="1796192"/>
            <a:ext cx="0" cy="4674689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572E720-C952-0904-E33E-66936525447E}"/>
              </a:ext>
            </a:extLst>
          </p:cNvPr>
          <p:cNvCxnSpPr>
            <a:cxnSpLocks/>
          </p:cNvCxnSpPr>
          <p:nvPr/>
        </p:nvCxnSpPr>
        <p:spPr>
          <a:xfrm>
            <a:off x="8095823" y="1796192"/>
            <a:ext cx="0" cy="4674689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6089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89351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02E40A0-8D5F-8418-48C9-20247DCDE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7668580-FDBD-0D85-04CA-0ECA8F9CB009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D161578-8E87-79BA-33F9-60D7C3798123}"/>
              </a:ext>
            </a:extLst>
          </p:cNvPr>
          <p:cNvGrpSpPr/>
          <p:nvPr/>
        </p:nvGrpSpPr>
        <p:grpSpPr>
          <a:xfrm>
            <a:off x="345057" y="108128"/>
            <a:ext cx="4759537" cy="233680"/>
            <a:chOff x="314577" y="124170"/>
            <a:chExt cx="341429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7E0B1734-148D-FBFF-5B8B-38E3D7128F75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EYDS Data Engineering Technical Test 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A6FD497F-AC65-203A-693B-BF2978CCE785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86039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kern="0" dirty="0">
                  <a:solidFill>
                    <a:srgbClr val="7F7F7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Outlines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62EE365-D22C-4CF0-7CD0-EA36A92A4812}"/>
                </a:ext>
              </a:extLst>
            </p:cNvPr>
            <p:cNvCxnSpPr/>
            <p:nvPr/>
          </p:nvCxnSpPr>
          <p:spPr>
            <a:xfrm>
              <a:off x="1788447" y="12417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0F83DF1-6B0C-5879-AF28-1E3C3EED2E91}"/>
              </a:ext>
            </a:extLst>
          </p:cNvPr>
          <p:cNvSpPr txBox="1"/>
          <p:nvPr/>
        </p:nvSpPr>
        <p:spPr>
          <a:xfrm>
            <a:off x="206943" y="478058"/>
            <a:ext cx="119850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1</a:t>
            </a:r>
            <a:r>
              <a:rPr kumimoji="0" lang="en-US" sz="2400" b="1" i="0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st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Case Problem Solving – SQL </a:t>
            </a: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Query Creation</a:t>
            </a:r>
            <a:endParaRPr kumimoji="0" lang="en-US" sz="2400" b="1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Georgia" panose="02040502050405020303" pitchFamily="18" charset="0"/>
              <a:ea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 used a structured approach to solve the 1</a:t>
            </a:r>
            <a:r>
              <a:rPr kumimoji="0" lang="en-US" i="0" strike="noStrike" kern="1200" cap="none" spc="0" normalizeH="0" baseline="3000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t</a:t>
            </a:r>
            <a:r>
              <a:rPr kumimoji="0" lang="en-US" i="0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case, including setting up containerized PostgreSQL and querying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638A0C-0DFE-528B-49EC-FC46480CB641}"/>
              </a:ext>
            </a:extLst>
          </p:cNvPr>
          <p:cNvCxnSpPr>
            <a:cxnSpLocks/>
          </p:cNvCxnSpPr>
          <p:nvPr/>
        </p:nvCxnSpPr>
        <p:spPr>
          <a:xfrm>
            <a:off x="319657" y="1262144"/>
            <a:ext cx="11590003" cy="0"/>
          </a:xfrm>
          <a:prstGeom prst="line">
            <a:avLst/>
          </a:prstGeom>
          <a:ln>
            <a:solidFill>
              <a:srgbClr val="FCE60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21558B2-9147-0531-6D5E-0DC09618557C}"/>
              </a:ext>
            </a:extLst>
          </p:cNvPr>
          <p:cNvSpPr txBox="1"/>
          <p:nvPr/>
        </p:nvSpPr>
        <p:spPr>
          <a:xfrm>
            <a:off x="3175000" y="2324100"/>
            <a:ext cx="4546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Setting up </a:t>
            </a:r>
            <a:r>
              <a:rPr lang="en-US" dirty="0" err="1"/>
              <a:t>postgresql</a:t>
            </a:r>
            <a:r>
              <a:rPr lang="en-US" dirty="0"/>
              <a:t> in docker</a:t>
            </a:r>
          </a:p>
          <a:p>
            <a:pPr marL="342900" indent="-342900">
              <a:buAutoNum type="arabicPeriod"/>
            </a:pPr>
            <a:r>
              <a:rPr lang="en-US" dirty="0"/>
              <a:t>Create schemas within the </a:t>
            </a:r>
            <a:r>
              <a:rPr lang="en-US" dirty="0" err="1"/>
              <a:t>postgresql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Generate sample data using AI</a:t>
            </a:r>
          </a:p>
          <a:p>
            <a:pPr marL="342900" indent="-342900">
              <a:buAutoNum type="arabicPeriod"/>
            </a:pPr>
            <a:r>
              <a:rPr lang="en-US" dirty="0"/>
              <a:t>Insert data using DML commands</a:t>
            </a:r>
          </a:p>
          <a:p>
            <a:pPr marL="342900" indent="-342900">
              <a:buAutoNum type="arabicPeriod"/>
            </a:pPr>
            <a:r>
              <a:rPr lang="en-US" dirty="0"/>
              <a:t>Perform query</a:t>
            </a:r>
            <a:endParaRPr lang="en-ID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837D53-27AC-6D8F-9B22-D8D0DC14B6A9}"/>
              </a:ext>
            </a:extLst>
          </p:cNvPr>
          <p:cNvSpPr txBox="1"/>
          <p:nvPr/>
        </p:nvSpPr>
        <p:spPr>
          <a:xfrm>
            <a:off x="7924800" y="1655572"/>
            <a:ext cx="3984860" cy="47243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with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cent_order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selec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order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customer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order_date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statu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i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product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i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quantity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i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price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i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discoun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i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tax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rder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i="1" dirty="0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lef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join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rder_item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i="1" dirty="0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i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on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order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oi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order_id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where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order_date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gt;= </a:t>
            </a:r>
            <a:r>
              <a:rPr lang="en-ID" sz="70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2024-09-20'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an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statu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ID" sz="70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'Delivered'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by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order_date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 err="1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desc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 marL="0" marR="0">
              <a:buNone/>
            </a:pP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,</a:t>
            </a:r>
          </a:p>
          <a:p>
            <a:pPr marL="0" marR="0">
              <a:buNone/>
            </a:pPr>
            <a:b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ustomer_spending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select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ustomer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b="1" dirty="0"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distinc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oduct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tal_unique_products_purchase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b="1" dirty="0"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coun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distinc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order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tal_unique_order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b="1" dirty="0"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SUM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quantity * price) - </a:t>
            </a:r>
            <a:r>
              <a:rPr lang="en-ID" sz="700" b="1" dirty="0"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SUM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discount) + </a:t>
            </a:r>
            <a:r>
              <a:rPr lang="en-ID" sz="700" b="1" dirty="0"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SUM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tax)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tal_cust_spending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cent_order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group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by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ustomer_id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by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otal_unique_order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 err="1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desc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 marL="0" marR="0">
              <a:buNone/>
            </a:pP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marR="0">
              <a:buNone/>
            </a:pPr>
            <a:b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select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customer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a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i="1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cust_name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country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s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total_unique_order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s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total_unique_products_purchase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pPr marL="0" marR="0">
              <a:buNone/>
            </a:pP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s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total_cust_spending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from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ustomers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i="1" dirty="0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join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ustomer_spending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i="1" dirty="0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s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on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customer_id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ID" sz="700" i="1" dirty="0" err="1">
                <a:solidFill>
                  <a:srgbClr val="8E00C6"/>
                </a:solidFill>
                <a:effectLst/>
                <a:latin typeface="Consolas" panose="020B0609020204030204" pitchFamily="49" charset="0"/>
              </a:rPr>
              <a:t>cs</a:t>
            </a:r>
            <a:r>
              <a:rPr lang="en-ID" sz="7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customer_id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buNone/>
            </a:pP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order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by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 err="1">
                <a:solidFill>
                  <a:srgbClr val="006464"/>
                </a:solidFill>
                <a:effectLst/>
                <a:latin typeface="Consolas" panose="020B0609020204030204" pitchFamily="49" charset="0"/>
              </a:rPr>
              <a:t>total_cust_spending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b="1" dirty="0" err="1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desc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/>
            <a:r>
              <a:rPr lang="en-ID" sz="700" b="1" dirty="0">
                <a:solidFill>
                  <a:srgbClr val="800000"/>
                </a:solidFill>
                <a:effectLst/>
                <a:latin typeface="Consolas" panose="020B0609020204030204" pitchFamily="49" charset="0"/>
              </a:rPr>
              <a:t>limit</a:t>
            </a:r>
            <a:r>
              <a:rPr lang="en-ID" sz="7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ID" sz="70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10</a:t>
            </a:r>
            <a:endParaRPr lang="en-ID" sz="7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7900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EEAD780-6852-F011-7CAA-BBAFFD384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233CE5FD-CFE8-91E0-FB49-B5E2B8C14534}"/>
              </a:ext>
            </a:extLst>
          </p:cNvPr>
          <p:cNvSpPr/>
          <p:nvPr/>
        </p:nvSpPr>
        <p:spPr>
          <a:xfrm>
            <a:off x="354762" y="4300499"/>
            <a:ext cx="3706243" cy="1922501"/>
          </a:xfrm>
          <a:prstGeom prst="roundRect">
            <a:avLst>
              <a:gd name="adj" fmla="val 7509"/>
            </a:avLst>
          </a:prstGeom>
          <a:solidFill>
            <a:srgbClr val="FBFBFB"/>
          </a:solidFill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59453198-3013-50A0-FD99-2F3C747D4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2761574"/>
              </p:ext>
            </p:extLst>
          </p:nvPr>
        </p:nvGraphicFramePr>
        <p:xfrm>
          <a:off x="4318129" y="3556750"/>
          <a:ext cx="4009831" cy="2777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89DDECC7-6B9C-1FF8-C0B0-5B6BCE4D6354}"/>
              </a:ext>
            </a:extLst>
          </p:cNvPr>
          <p:cNvSpPr txBox="1"/>
          <p:nvPr/>
        </p:nvSpPr>
        <p:spPr>
          <a:xfrm>
            <a:off x="4460515" y="1694105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evenue declining sharp</a:t>
            </a:r>
            <a:endParaRPr kumimoji="0" lang="en-US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EFF187-AD36-7C22-862A-B42547222549}"/>
              </a:ext>
            </a:extLst>
          </p:cNvPr>
          <p:cNvSpPr txBox="1"/>
          <p:nvPr/>
        </p:nvSpPr>
        <p:spPr>
          <a:xfrm>
            <a:off x="256941" y="1686485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ight market competition</a:t>
            </a:r>
            <a:endParaRPr kumimoji="0" lang="en-US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4171134-93AB-D23E-1171-BD7E3A1AC9C0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9B6D7EDC-AA5C-E46F-E093-97DDD7AE4E12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79D86F14-1574-F35D-7232-A546EAFF3E7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9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BB490C5-B17A-94E1-4EA2-1A6900DCF287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584CAD-EE1A-36DD-95D3-1570233C0ACC}"/>
              </a:ext>
            </a:extLst>
          </p:cNvPr>
          <p:cNvSpPr txBox="1"/>
          <p:nvPr/>
        </p:nvSpPr>
        <p:spPr>
          <a:xfrm>
            <a:off x="206943" y="478058"/>
            <a:ext cx="120898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Study Cas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GoHaili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!</a:t>
            </a:r>
            <a:r>
              <a:rPr lang="en-US" sz="2400" b="1" dirty="0">
                <a:solidFill>
                  <a:prstClr val="black"/>
                </a:solidFill>
                <a:latin typeface="Georgia" panose="02040502050405020303" pitchFamily="18" charset="0"/>
                <a:ea typeface="EMprint" panose="020B05030202040202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company is facing risks that threatens its business sustainabilit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CC2F55-A147-339B-CDB5-E41A677A418E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EFDC961C-2827-69B0-76BE-1983FE92B26E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46664F90-8055-5F47-75CD-FEA25898CD32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B71D483-CA0E-A138-2532-76FA00E7B691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E8EBC0B-0EB1-7F72-D08C-89F4F614C182}"/>
              </a:ext>
            </a:extLst>
          </p:cNvPr>
          <p:cNvSpPr txBox="1"/>
          <p:nvPr/>
        </p:nvSpPr>
        <p:spPr>
          <a:xfrm>
            <a:off x="270069" y="2098605"/>
            <a:ext cx="400983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Hailing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!, a provider of on-demand transportation services, is facing intense competition due to the rise of new players with the same business model, increasing market pressure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F7DF25A-FFBE-70DD-FF05-E9B13B6A4C0D}"/>
              </a:ext>
            </a:extLst>
          </p:cNvPr>
          <p:cNvSpPr txBox="1"/>
          <p:nvPr/>
        </p:nvSpPr>
        <p:spPr>
          <a:xfrm>
            <a:off x="270069" y="6409325"/>
            <a:ext cx="71943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 The case study and data presented in this slide are hypothetical and created for illustrative purposes only</a:t>
            </a:r>
            <a:endParaRPr lang="en-ID" sz="11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8A9ECD9-8FF2-BF87-892B-B13805411BA0}"/>
              </a:ext>
            </a:extLst>
          </p:cNvPr>
          <p:cNvCxnSpPr>
            <a:cxnSpLocks/>
          </p:cNvCxnSpPr>
          <p:nvPr/>
        </p:nvCxnSpPr>
        <p:spPr>
          <a:xfrm>
            <a:off x="345057" y="2050939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1EAE090-1E5C-B2CB-380E-7DE84253CADF}"/>
              </a:ext>
            </a:extLst>
          </p:cNvPr>
          <p:cNvCxnSpPr>
            <a:cxnSpLocks/>
          </p:cNvCxnSpPr>
          <p:nvPr/>
        </p:nvCxnSpPr>
        <p:spPr>
          <a:xfrm>
            <a:off x="345057" y="137091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37E9459-5F09-EB92-3172-BD9BB3272F15}"/>
              </a:ext>
            </a:extLst>
          </p:cNvPr>
          <p:cNvCxnSpPr>
            <a:cxnSpLocks/>
          </p:cNvCxnSpPr>
          <p:nvPr/>
        </p:nvCxnSpPr>
        <p:spPr>
          <a:xfrm>
            <a:off x="4556974" y="2050939"/>
            <a:ext cx="350955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8008FF8-A2E6-712A-3B9A-D87D01284CD0}"/>
              </a:ext>
            </a:extLst>
          </p:cNvPr>
          <p:cNvGrpSpPr/>
          <p:nvPr/>
        </p:nvGrpSpPr>
        <p:grpSpPr>
          <a:xfrm>
            <a:off x="8424419" y="1702068"/>
            <a:ext cx="3940959" cy="369332"/>
            <a:chOff x="4656776" y="1264511"/>
            <a:chExt cx="3940959" cy="36933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B486790-03E7-B8B8-3A9F-CECFB7C725D8}"/>
                </a:ext>
              </a:extLst>
            </p:cNvPr>
            <p:cNvSpPr txBox="1"/>
            <p:nvPr/>
          </p:nvSpPr>
          <p:spPr>
            <a:xfrm>
              <a:off x="4656776" y="1264511"/>
              <a:ext cx="39409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EMprint" panose="020B0503020204020204" pitchFamily="34" charset="0"/>
                  <a:cs typeface="Arial" panose="020B0604020202020204" pitchFamily="34" charset="0"/>
                </a:rPr>
                <a:t>Productivity decreases</a:t>
              </a:r>
              <a:endParaRPr kumimoji="0" lang="en-US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CE057564-4AC8-39A7-7F90-2076C0B17D82}"/>
                </a:ext>
              </a:extLst>
            </p:cNvPr>
            <p:cNvCxnSpPr>
              <a:cxnSpLocks/>
            </p:cNvCxnSpPr>
            <p:nvPr/>
          </p:nvCxnSpPr>
          <p:spPr>
            <a:xfrm>
              <a:off x="4744892" y="1621345"/>
              <a:ext cx="3343581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CB1F033A-3A8E-E0FD-7B2E-C189C97EA4B1}"/>
              </a:ext>
            </a:extLst>
          </p:cNvPr>
          <p:cNvSpPr txBox="1"/>
          <p:nvPr/>
        </p:nvSpPr>
        <p:spPr>
          <a:xfrm>
            <a:off x="4460515" y="2098605"/>
            <a:ext cx="38674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-Hailing saw its revenue declining by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35%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over the past few years, significantly threatening its sustainability amid rising costs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CEEBB9D-F9DA-76E0-B607-B90F3A0017CE}"/>
              </a:ext>
            </a:extLst>
          </p:cNvPr>
          <p:cNvSpPr txBox="1"/>
          <p:nvPr/>
        </p:nvSpPr>
        <p:spPr>
          <a:xfrm>
            <a:off x="8407533" y="2098605"/>
            <a:ext cx="36125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Hailing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’s business productivity has declined significantly compared to industry benchmarks, signaling increased customer and driver partner churn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49BF47A-BAF7-9786-04D9-C47AB75F2EA4}"/>
              </a:ext>
            </a:extLst>
          </p:cNvPr>
          <p:cNvCxnSpPr>
            <a:cxnSpLocks/>
          </p:cNvCxnSpPr>
          <p:nvPr/>
        </p:nvCxnSpPr>
        <p:spPr>
          <a:xfrm>
            <a:off x="4623413" y="4607011"/>
            <a:ext cx="3340342" cy="4124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BE8CCF1C-2898-F8B9-5C1D-D4FFB40ECAD5}"/>
              </a:ext>
            </a:extLst>
          </p:cNvPr>
          <p:cNvSpPr/>
          <p:nvPr/>
        </p:nvSpPr>
        <p:spPr>
          <a:xfrm>
            <a:off x="5824501" y="4665631"/>
            <a:ext cx="831901" cy="320105"/>
          </a:xfrm>
          <a:prstGeom prst="roundRect">
            <a:avLst/>
          </a:prstGeom>
          <a:solidFill>
            <a:srgbClr val="C0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eorgia" panose="02040502050405020303" pitchFamily="18" charset="0"/>
              </a:rPr>
              <a:t>-35%</a:t>
            </a:r>
            <a:endParaRPr lang="en-ID" sz="1400" b="1" dirty="0">
              <a:latin typeface="Georgia" panose="02040502050405020303" pitchFamily="18" charset="0"/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39E66D5-7771-0F95-F605-ECCA1CB657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08937" y="4850182"/>
            <a:ext cx="1255489" cy="352819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3A0B7EEA-C04C-6C61-ECAA-1BC67A79F9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26563" y="4762039"/>
            <a:ext cx="1086283" cy="514926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397E3384-F2EE-6C68-8869-115AEE9F21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7020" y="4727397"/>
            <a:ext cx="679929" cy="674893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F879EBFB-9B9C-6EB3-0645-50F506E60B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45189" y="5402290"/>
            <a:ext cx="727505" cy="686169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1A211020-E6CE-B4CC-6190-AB2EB35BC7D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88488" y="5475748"/>
            <a:ext cx="761893" cy="612711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5233948A-9214-A255-618C-7D3E7A76943B}"/>
              </a:ext>
            </a:extLst>
          </p:cNvPr>
          <p:cNvSpPr txBox="1"/>
          <p:nvPr/>
        </p:nvSpPr>
        <p:spPr>
          <a:xfrm>
            <a:off x="4460515" y="3217023"/>
            <a:ext cx="4009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-Hailing revenue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in IDR Bn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2020</a:t>
            </a:r>
            <a:r>
              <a:rPr lang="en-US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- 2024</a:t>
            </a:r>
            <a:endParaRPr kumimoji="0" lang="en-US" sz="120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137AA461-F2F2-2430-E579-7856D67A36EE}"/>
              </a:ext>
            </a:extLst>
          </p:cNvPr>
          <p:cNvSpPr txBox="1"/>
          <p:nvPr/>
        </p:nvSpPr>
        <p:spPr>
          <a:xfrm>
            <a:off x="8424419" y="3217023"/>
            <a:ext cx="4009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roductivity competition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in rides per hour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2020</a:t>
            </a:r>
            <a:r>
              <a:rPr lang="en-US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- 2024</a:t>
            </a:r>
            <a:endParaRPr kumimoji="0" lang="en-US" sz="120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29CDFD3-6F35-6919-7A1D-F5006E09EC69}"/>
              </a:ext>
            </a:extLst>
          </p:cNvPr>
          <p:cNvSpPr txBox="1"/>
          <p:nvPr/>
        </p:nvSpPr>
        <p:spPr>
          <a:xfrm>
            <a:off x="2152012" y="3456358"/>
            <a:ext cx="1697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A8F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Go</a:t>
            </a:r>
          </a:p>
          <a:p>
            <a:r>
              <a:rPr lang="en-US" b="1" dirty="0">
                <a:solidFill>
                  <a:srgbClr val="00A8F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Hailing!</a:t>
            </a:r>
            <a:endParaRPr lang="en-ID" b="1" dirty="0">
              <a:solidFill>
                <a:srgbClr val="00A8F3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1B18FD9-A8A0-ABAC-3531-906953014777}"/>
              </a:ext>
            </a:extLst>
          </p:cNvPr>
          <p:cNvCxnSpPr>
            <a:cxnSpLocks/>
          </p:cNvCxnSpPr>
          <p:nvPr/>
        </p:nvCxnSpPr>
        <p:spPr>
          <a:xfrm>
            <a:off x="8589187" y="4519306"/>
            <a:ext cx="0" cy="14490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EDFCE953-1376-904B-4B9F-C4952DF0CA72}"/>
              </a:ext>
            </a:extLst>
          </p:cNvPr>
          <p:cNvCxnSpPr>
            <a:cxnSpLocks/>
          </p:cNvCxnSpPr>
          <p:nvPr/>
        </p:nvCxnSpPr>
        <p:spPr>
          <a:xfrm>
            <a:off x="10055317" y="4273045"/>
            <a:ext cx="0" cy="16953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419A49BD-26AE-30CC-3DD8-12D4641B9FD6}"/>
              </a:ext>
            </a:extLst>
          </p:cNvPr>
          <p:cNvCxnSpPr>
            <a:cxnSpLocks/>
          </p:cNvCxnSpPr>
          <p:nvPr/>
        </p:nvCxnSpPr>
        <p:spPr>
          <a:xfrm>
            <a:off x="11691520" y="4519306"/>
            <a:ext cx="0" cy="14490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2" name="Picture 121">
            <a:extLst>
              <a:ext uri="{FF2B5EF4-FFF2-40B4-BE49-F238E27FC236}">
                <a16:creationId xmlns:a16="http://schemas.microsoft.com/office/drawing/2014/main" id="{68E0A094-462F-0B1C-1C8B-92E67EA541E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35973" y="3327893"/>
            <a:ext cx="953456" cy="879444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3C5CEE49-E606-EF4A-5DD4-C9BA0D791E5D}"/>
              </a:ext>
            </a:extLst>
          </p:cNvPr>
          <p:cNvSpPr txBox="1"/>
          <p:nvPr/>
        </p:nvSpPr>
        <p:spPr>
          <a:xfrm>
            <a:off x="10714782" y="3662106"/>
            <a:ext cx="19534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51C2C"/>
                </a:solidFill>
                <a:latin typeface="Georgia" panose="02040502050405020303" pitchFamily="18" charset="0"/>
                <a:ea typeface="Tahoma" panose="020B0604030504040204" pitchFamily="34" charset="0"/>
                <a:cs typeface="Arial" panose="020B0604020202020204" pitchFamily="34" charset="0"/>
              </a:rPr>
              <a:t>Industry Benchmark</a:t>
            </a:r>
            <a:endParaRPr lang="en-ID" sz="1100" dirty="0">
              <a:solidFill>
                <a:srgbClr val="051C2C"/>
              </a:solidFill>
              <a:latin typeface="Georgia" panose="02040502050405020303" pitchFamily="18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A7EE6DB-48AD-63E6-86BF-C5B7FF414755}"/>
              </a:ext>
            </a:extLst>
          </p:cNvPr>
          <p:cNvSpPr txBox="1"/>
          <p:nvPr/>
        </p:nvSpPr>
        <p:spPr>
          <a:xfrm>
            <a:off x="11274958" y="4732788"/>
            <a:ext cx="9946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rgbClr val="00A8F3"/>
                </a:solidFill>
                <a:latin typeface="Georgia" panose="02040502050405020303" pitchFamily="18" charset="0"/>
                <a:ea typeface="Tahoma" panose="020B0604030504040204" pitchFamily="34" charset="0"/>
                <a:cs typeface="Arial" panose="020B0604020202020204" pitchFamily="34" charset="0"/>
              </a:rPr>
              <a:t>GoHailing</a:t>
            </a:r>
            <a:r>
              <a:rPr lang="en-US" sz="1100" dirty="0">
                <a:solidFill>
                  <a:srgbClr val="00A8F3"/>
                </a:solidFill>
                <a:latin typeface="Georgia" panose="02040502050405020303" pitchFamily="18" charset="0"/>
                <a:ea typeface="Tahoma" panose="020B0604030504040204" pitchFamily="34" charset="0"/>
                <a:cs typeface="Arial" panose="020B0604020202020204" pitchFamily="34" charset="0"/>
              </a:rPr>
              <a:t>!</a:t>
            </a:r>
            <a:endParaRPr lang="en-ID" sz="1100" b="1" dirty="0">
              <a:solidFill>
                <a:srgbClr val="00A8F3"/>
              </a:solidFill>
              <a:latin typeface="Georgia" panose="02040502050405020303" pitchFamily="18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5BBF045A-9777-A7AE-0D9D-5C33EDCDC7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831180"/>
              </p:ext>
            </p:extLst>
          </p:nvPr>
        </p:nvGraphicFramePr>
        <p:xfrm>
          <a:off x="8269038" y="3556750"/>
          <a:ext cx="3751063" cy="2777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AB39570E-E1FF-24FE-8B38-20945E037BB5}"/>
              </a:ext>
            </a:extLst>
          </p:cNvPr>
          <p:cNvSpPr txBox="1"/>
          <p:nvPr/>
        </p:nvSpPr>
        <p:spPr>
          <a:xfrm>
            <a:off x="1655265" y="4369357"/>
            <a:ext cx="1241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mpetitor</a:t>
            </a:r>
          </a:p>
        </p:txBody>
      </p:sp>
    </p:spTree>
    <p:extLst>
      <p:ext uri="{BB962C8B-B14F-4D97-AF65-F5344CB8AC3E}">
        <p14:creationId xmlns:p14="http://schemas.microsoft.com/office/powerpoint/2010/main" val="355681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heme/theme1.xml><?xml version="1.0" encoding="utf-8"?>
<a:theme xmlns:a="http://schemas.openxmlformats.org/drawingml/2006/main" name="ExxonMobil_Template_Arial">
  <a:themeElements>
    <a:clrScheme name="ExxonMobil2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00ACA8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cap="flat" cmpd="sng">
          <a:solidFill>
            <a:schemeClr val="accent1"/>
          </a:solidFill>
          <a:prstDash val="solid"/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 dirty="0"/>
        </a:defPPr>
      </a:lst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fontAlgn="auto">
          <a:spcAft>
            <a:spcPts val="0"/>
          </a:spcAft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ExxonMobil_Template_Arial">
  <a:themeElements>
    <a:clrScheme name="ExxonMobil2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00ACA8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>
            <a:lumMod val="85000"/>
          </a:srgbClr>
        </a:solidFill>
        <a:ln w="9525">
          <a:solidFill>
            <a:srgbClr val="FFFFFF"/>
          </a:solidFill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eaLnBrk="1" fontAlgn="auto" latinLnBrk="0" hangingPunct="1">
          <a:lnSpc>
            <a:spcPct val="86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ea typeface="+mn-ea"/>
            <a:cs typeface="+mn-cs"/>
          </a:defRPr>
        </a:defPPr>
      </a:lst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fontAlgn="auto">
          <a:spcAft>
            <a:spcPts val="0"/>
          </a:spcAft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ExxonMobil_Template_Arial">
  <a:themeElements>
    <a:clrScheme name="ExxonMobil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13943C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2A1E704-C616-4B1E-B634-FD10FE5ADA7A}" vid="{7731993D-881C-4361-AD76-5749F16CDF4C}"/>
    </a:ext>
  </a:extLst>
</a:theme>
</file>

<file path=ppt/theme/theme4.xml><?xml version="1.0" encoding="utf-8"?>
<a:theme xmlns:a="http://schemas.openxmlformats.org/drawingml/2006/main" name="5_ExxonMobil_Template_Arial">
  <a:themeElements>
    <a:clrScheme name="ExxonMobil2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00ACA8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>
            <a:lumMod val="85000"/>
          </a:srgbClr>
        </a:solidFill>
        <a:ln w="9525">
          <a:solidFill>
            <a:srgbClr val="FFFFFF"/>
          </a:solidFill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eaLnBrk="1" fontAlgn="auto" latinLnBrk="0" hangingPunct="1">
          <a:lnSpc>
            <a:spcPct val="86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ea typeface="+mn-ea"/>
            <a:cs typeface="+mn-cs"/>
          </a:defRPr>
        </a:defPPr>
      </a:lst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fontAlgn="auto">
          <a:spcAft>
            <a:spcPts val="0"/>
          </a:spcAft>
          <a:defRPr dirty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6fb2f7f-8c69-46f9-9811-aae61f596fc0">
      <Terms xmlns="http://schemas.microsoft.com/office/infopath/2007/PartnerControls"/>
    </lcf76f155ced4ddcb4097134ff3c332f>
    <TaxCatchAll xmlns="d47db331-0fc1-4bf8-832a-6fb5ac6185a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02AD334624F044A2FC8A930BDEFF60" ma:contentTypeVersion="14" ma:contentTypeDescription="Create a new document." ma:contentTypeScope="" ma:versionID="d770ff4010ff022ab9fc5f60916a6e8d">
  <xsd:schema xmlns:xsd="http://www.w3.org/2001/XMLSchema" xmlns:xs="http://www.w3.org/2001/XMLSchema" xmlns:p="http://schemas.microsoft.com/office/2006/metadata/properties" xmlns:ns2="36fb2f7f-8c69-46f9-9811-aae61f596fc0" xmlns:ns3="d47db331-0fc1-4bf8-832a-6fb5ac6185a1" targetNamespace="http://schemas.microsoft.com/office/2006/metadata/properties" ma:root="true" ma:fieldsID="1c1744b6d56d250ea6bb32a00dfd50d2" ns2:_="" ns3:_="">
    <xsd:import namespace="36fb2f7f-8c69-46f9-9811-aae61f596fc0"/>
    <xsd:import namespace="d47db331-0fc1-4bf8-832a-6fb5ac6185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fb2f7f-8c69-46f9-9811-aae61f596f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e668b16-eeb5-47ab-91e4-7169077339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7db331-0fc1-4bf8-832a-6fb5ac6185a1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2112cf1-752b-4098-b5a1-a4756e91a13e}" ma:internalName="TaxCatchAll" ma:showField="CatchAllData" ma:web="d47db331-0fc1-4bf8-832a-6fb5ac6185a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4412E6-FB96-46DD-9271-F85974716C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E88BEB-8723-4E55-BF7A-AF908A3839B8}">
  <ds:schemaRefs>
    <ds:schemaRef ds:uri="http://schemas.microsoft.com/office/2006/documentManagement/types"/>
    <ds:schemaRef ds:uri="36fb2f7f-8c69-46f9-9811-aae61f596fc0"/>
    <ds:schemaRef ds:uri="http://purl.org/dc/terms/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d47db331-0fc1-4bf8-832a-6fb5ac6185a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523A567-CC7B-4865-B575-F8681C98F4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fb2f7f-8c69-46f9-9811-aae61f596fc0"/>
    <ds:schemaRef ds:uri="d47db331-0fc1-4bf8-832a-6fb5ac6185a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79</TotalTime>
  <Words>2429</Words>
  <Application>Microsoft Office PowerPoint</Application>
  <PresentationFormat>Widescreen</PresentationFormat>
  <Paragraphs>503</Paragraphs>
  <Slides>23</Slides>
  <Notes>22</Notes>
  <HiddenSlides>18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Aptos</vt:lpstr>
      <vt:lpstr>Aptos Display</vt:lpstr>
      <vt:lpstr>Arial</vt:lpstr>
      <vt:lpstr>Calibri</vt:lpstr>
      <vt:lpstr>Consolas</vt:lpstr>
      <vt:lpstr>EMprint</vt:lpstr>
      <vt:lpstr>EMprint Light</vt:lpstr>
      <vt:lpstr>Georgia</vt:lpstr>
      <vt:lpstr>Roboto</vt:lpstr>
      <vt:lpstr>Wingdings</vt:lpstr>
      <vt:lpstr>ExxonMobil_Template_Arial</vt:lpstr>
      <vt:lpstr>1_ExxonMobil_Template_Arial</vt:lpstr>
      <vt:lpstr>2_ExxonMobil_Template_Arial</vt:lpstr>
      <vt:lpstr>5_ExxonMobil_Template_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 - EM Quarter Performance Review 3Q 2023</dc:title>
  <dc:creator>Rizky Aditya</dc:creator>
  <cp:lastModifiedBy>Rizky Fajar</cp:lastModifiedBy>
  <cp:revision>369</cp:revision>
  <dcterms:created xsi:type="dcterms:W3CDTF">2022-09-09T02:38:46Z</dcterms:created>
  <dcterms:modified xsi:type="dcterms:W3CDTF">2025-03-20T15:0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A02AD334624F044A2FC8A930BDEFF60</vt:lpwstr>
  </property>
  <property fmtid="{D5CDD505-2E9C-101B-9397-08002B2CF9AE}" pid="4" name="MediaServiceImageTags">
    <vt:lpwstr/>
  </property>
</Properties>
</file>